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708" r:id="rId4"/>
  </p:sldMasterIdLst>
  <p:notesMasterIdLst>
    <p:notesMasterId r:id="rId28"/>
  </p:notesMasterIdLst>
  <p:handoutMasterIdLst>
    <p:handoutMasterId r:id="rId29"/>
  </p:handoutMasterIdLst>
  <p:sldIdLst>
    <p:sldId id="10066" r:id="rId5"/>
    <p:sldId id="10176" r:id="rId6"/>
    <p:sldId id="10202" r:id="rId7"/>
    <p:sldId id="10188" r:id="rId8"/>
    <p:sldId id="10214" r:id="rId9"/>
    <p:sldId id="10215" r:id="rId10"/>
    <p:sldId id="10216" r:id="rId11"/>
    <p:sldId id="10217" r:id="rId12"/>
    <p:sldId id="10218" r:id="rId13"/>
    <p:sldId id="10219" r:id="rId14"/>
    <p:sldId id="10223" r:id="rId15"/>
    <p:sldId id="10220" r:id="rId16"/>
    <p:sldId id="10221" r:id="rId17"/>
    <p:sldId id="10222" r:id="rId18"/>
    <p:sldId id="10224" r:id="rId19"/>
    <p:sldId id="10190" r:id="rId20"/>
    <p:sldId id="10192" r:id="rId21"/>
    <p:sldId id="10193" r:id="rId22"/>
    <p:sldId id="10194" r:id="rId23"/>
    <p:sldId id="10195" r:id="rId24"/>
    <p:sldId id="10196" r:id="rId25"/>
    <p:sldId id="10225" r:id="rId26"/>
    <p:sldId id="10197" r:id="rId27"/>
  </p:sldIdLst>
  <p:sldSz cx="11949113" cy="6721475"/>
  <p:notesSz cx="7023100" cy="9309100"/>
  <p:custDataLst>
    <p:tags r:id="rId3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2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97C"/>
    <a:srgbClr val="FF0000"/>
    <a:srgbClr val="4099DA"/>
    <a:srgbClr val="C8BE99"/>
    <a:srgbClr val="FFC000"/>
    <a:srgbClr val="00B050"/>
    <a:srgbClr val="FF00FF"/>
    <a:srgbClr val="C00000"/>
    <a:srgbClr val="FFFF99"/>
    <a:srgbClr val="8A8D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2F6DBE0-2C34-4105-95C9-5BE23F4CAF1B}" v="8" dt="2020-03-31T18:24:43.08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592" autoAdjust="0"/>
    <p:restoredTop sz="93878" autoAdjust="0"/>
  </p:normalViewPr>
  <p:slideViewPr>
    <p:cSldViewPr snapToGrid="0">
      <p:cViewPr varScale="1">
        <p:scale>
          <a:sx n="71" d="100"/>
          <a:sy n="71" d="100"/>
        </p:scale>
        <p:origin x="972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714"/>
    </p:cViewPr>
  </p:sorterViewPr>
  <p:notesViewPr>
    <p:cSldViewPr snapToGrid="0">
      <p:cViewPr varScale="1">
        <p:scale>
          <a:sx n="95" d="100"/>
          <a:sy n="95" d="100"/>
        </p:scale>
        <p:origin x="3104" y="192"/>
      </p:cViewPr>
      <p:guideLst>
        <p:guide orient="horz" pos="2932"/>
        <p:guide pos="221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36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14350" y="500063"/>
            <a:ext cx="6043613" cy="340042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68725" y="5002150"/>
            <a:ext cx="5984845" cy="1232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267556" y="8952066"/>
            <a:ext cx="557152" cy="1735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824644" y="96024"/>
            <a:ext cx="65" cy="1232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Calibri" panose="020F0502020204030204" pitchFamily="34" charset="0"/>
        <a:ea typeface="+mn-ea"/>
        <a:cs typeface="Calibri" panose="020F0502020204030204" pitchFamily="34" charset="0"/>
        <a:sym typeface="Calibri" panose="020F0502020204030204" pitchFamily="34" charset="0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Calibri" panose="020F0502020204030204" pitchFamily="34" charset="0"/>
        <a:ea typeface="+mn-ea"/>
        <a:cs typeface="Calibri" panose="020F0502020204030204" pitchFamily="34" charset="0"/>
        <a:sym typeface="Calibri" panose="020F0502020204030204" pitchFamily="34" charset="0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Calibri" panose="020F0502020204030204" pitchFamily="34" charset="0"/>
        <a:ea typeface="+mn-ea"/>
        <a:cs typeface="Calibri" panose="020F0502020204030204" pitchFamily="34" charset="0"/>
        <a:sym typeface="Calibri" panose="020F0502020204030204" pitchFamily="34" charset="0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Calibri" panose="020F0502020204030204" pitchFamily="34" charset="0"/>
        <a:ea typeface="+mn-ea"/>
        <a:cs typeface="Calibri" panose="020F0502020204030204" pitchFamily="34" charset="0"/>
        <a:sym typeface="Calibri" panose="020F0502020204030204" pitchFamily="34" charset="0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Calibri" panose="020F0502020204030204" pitchFamily="34" charset="0"/>
        <a:ea typeface="+mn-ea"/>
        <a:cs typeface="Calibri" panose="020F0502020204030204" pitchFamily="34" charset="0"/>
        <a:sym typeface="Calibri" panose="020F050202020403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250825" y="549275"/>
            <a:ext cx="6648450" cy="3740150"/>
          </a:xfrm>
        </p:spPr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>
          <a:xfrm>
            <a:off x="567697" y="4995326"/>
            <a:ext cx="5974022" cy="246221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21925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53340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emf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C29B239-9E09-4F6E-93E0-71C192754F3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0078AE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4231" b="97500" l="4317" r="98201">
                        <a14:foregroundMark x1="9353" y1="65385" x2="2518" y2="75385"/>
                        <a14:foregroundMark x1="2518" y1="75385" x2="17986" y2="79038"/>
                        <a14:foregroundMark x1="17986" y1="79038" x2="1799" y2="75769"/>
                        <a14:foregroundMark x1="1799" y1="75769" x2="6835" y2="65577"/>
                        <a14:foregroundMark x1="6835" y1="65577" x2="6115" y2="75769"/>
                        <a14:foregroundMark x1="6115" y1="75769" x2="4676" y2="76731"/>
                        <a14:foregroundMark x1="46043" y1="88654" x2="40647" y2="99038"/>
                        <a14:foregroundMark x1="40647" y1="99038" x2="49281" y2="89808"/>
                        <a14:foregroundMark x1="49281" y1="89808" x2="49281" y2="90192"/>
                        <a14:foregroundMark x1="44245" y1="93462" x2="37770" y2="97692"/>
                        <a14:foregroundMark x1="76259" y1="75769" x2="85612" y2="67115"/>
                        <a14:foregroundMark x1="85612" y1="67115" x2="85612" y2="66923"/>
                        <a14:foregroundMark x1="68705" y1="81154" x2="71942" y2="79423"/>
                        <a14:foregroundMark x1="86331" y1="63846" x2="93525" y2="43654"/>
                        <a14:foregroundMark x1="93525" y1="43654" x2="89568" y2="41154"/>
                        <a14:foregroundMark x1="90288" y1="23846" x2="90647" y2="14615"/>
                        <a14:foregroundMark x1="93525" y1="14231" x2="98561" y2="16154"/>
                        <a14:foregroundMark x1="81655" y1="10192" x2="65108" y2="5577"/>
                        <a14:foregroundMark x1="65108" y1="5577" x2="48561" y2="5769"/>
                        <a14:foregroundMark x1="48561" y1="5769" x2="66906" y2="5769"/>
                        <a14:foregroundMark x1="66906" y1="5769" x2="49281" y2="8654"/>
                        <a14:foregroundMark x1="49281" y1="8654" x2="66187" y2="4231"/>
                        <a14:foregroundMark x1="66187" y1="4231" x2="76619" y2="769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-2396" r="-2472"/>
          <a:stretch/>
        </p:blipFill>
        <p:spPr>
          <a:xfrm>
            <a:off x="8817429" y="1243872"/>
            <a:ext cx="2740732" cy="4449128"/>
          </a:xfrm>
          <a:prstGeom prst="rect">
            <a:avLst/>
          </a:prstGeom>
          <a:effectLst/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4C0B1310-EBA2-4546-BB11-440D5FBE0C14}"/>
              </a:ext>
            </a:extLst>
          </p:cNvPr>
          <p:cNvSpPr/>
          <p:nvPr/>
        </p:nvSpPr>
        <p:spPr>
          <a:xfrm>
            <a:off x="0" y="928777"/>
            <a:ext cx="11949113" cy="5207774"/>
          </a:xfrm>
          <a:prstGeom prst="rect">
            <a:avLst/>
          </a:prstGeom>
          <a:gradFill flip="none" rotWithShape="1">
            <a:gsLst>
              <a:gs pos="0">
                <a:schemeClr val="accent4">
                  <a:alpha val="92000"/>
                </a:schemeClr>
              </a:gs>
              <a:gs pos="99000">
                <a:schemeClr val="accent4">
                  <a:lumMod val="50000"/>
                </a:scheme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68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C7588289-2413-4609-AC40-DB9D1DEE080A}"/>
              </a:ext>
            </a:extLst>
          </p:cNvPr>
          <p:cNvSpPr>
            <a:spLocks/>
          </p:cNvSpPr>
          <p:nvPr userDrawn="1"/>
        </p:nvSpPr>
        <p:spPr>
          <a:xfrm>
            <a:off x="4234" y="5980192"/>
            <a:ext cx="11944879" cy="523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568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217759" y="2247884"/>
            <a:ext cx="7177164" cy="48264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136" b="0" baseline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17759" y="3707840"/>
            <a:ext cx="7177164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372" cap="none" baseline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auto">
          <a:xfrm>
            <a:off x="217759" y="5487036"/>
            <a:ext cx="7177164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372" baseline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Document type | D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8282B9EC-6874-415A-B664-E290105921D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6666" r="-16666"/>
          <a:stretch/>
        </p:blipFill>
        <p:spPr>
          <a:xfrm>
            <a:off x="11012954" y="173153"/>
            <a:ext cx="778782" cy="623033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23410A6C-3E96-4764-949B-69305DA17824}"/>
              </a:ext>
            </a:extLst>
          </p:cNvPr>
          <p:cNvSpPr>
            <a:spLocks/>
          </p:cNvSpPr>
          <p:nvPr userDrawn="1"/>
        </p:nvSpPr>
        <p:spPr>
          <a:xfrm>
            <a:off x="4234" y="1028475"/>
            <a:ext cx="11944879" cy="523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568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2CCBE273-7441-4187-9338-F91608623FE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89" y="-365950"/>
            <a:ext cx="2133860" cy="1432318"/>
          </a:xfrm>
          <a:prstGeom prst="rect">
            <a:avLst/>
          </a:prstGeom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79021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ck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BEB380B-917C-45EF-BD98-A4E18484D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DE4BA3A0-911F-F145-B6FB-A7E8A636C5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5176" y="-69239"/>
            <a:ext cx="1465418" cy="983637"/>
          </a:xfrm>
          <a:prstGeom prst="rect">
            <a:avLst/>
          </a:prstGeom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213061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F2146A7-DCB0-437C-8D84-39FD72EE0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D6322AF4-8D5F-6B43-AC4D-B2E4C66E0D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5176" y="-69239"/>
            <a:ext cx="1465418" cy="983637"/>
          </a:xfrm>
          <a:prstGeom prst="rect">
            <a:avLst/>
          </a:prstGeom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20772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0AEAAB7-1B8F-4DC0-8FCE-DF212BF83E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15573592-D6D4-1145-B716-B0FE9060D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5176" y="-69239"/>
            <a:ext cx="1465418" cy="983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2440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5" Type="http://schemas.openxmlformats.org/officeDocument/2006/relationships/theme" Target="../theme/theme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8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60" y="284781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04478" y="75764"/>
            <a:ext cx="371897" cy="120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784" cap="all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60" y="554867"/>
            <a:ext cx="11491891" cy="241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568" baseline="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9" y="6305946"/>
            <a:ext cx="962598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784" baseline="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9" y="6507560"/>
            <a:ext cx="962598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597408" indent="-597408" defTabSz="877443">
              <a:tabLst>
                <a:tab pos="617633" algn="l"/>
              </a:tabLst>
            </a:pPr>
            <a:r>
              <a:rPr lang="en-US" sz="784" baseline="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74874" y="2554679"/>
            <a:ext cx="5736421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674873" y="1868990"/>
            <a:ext cx="5685618" cy="500062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568" b="1" baseline="0" dirty="0">
                  <a:solidFill>
                    <a:srgbClr val="000000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Title</a:t>
              </a:r>
            </a:p>
            <a:p>
              <a:r>
                <a:rPr lang="en-US" sz="1568" baseline="0" dirty="0">
                  <a:solidFill>
                    <a:schemeClr val="accent6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Unit of measure</a:t>
              </a:r>
            </a:p>
          </p:txBody>
        </p:sp>
      </p:grpSp>
      <p:grpSp>
        <p:nvGrpSpPr>
          <p:cNvPr id="17" name="Sticker" hidden="1">
            <a:extLst>
              <a:ext uri="{FF2B5EF4-FFF2-40B4-BE49-F238E27FC236}">
                <a16:creationId xmlns:a16="http://schemas.microsoft.com/office/drawing/2014/main" xmlns="" id="{2C790296-416B-4243-BEFE-22AF5A6C2F40}"/>
              </a:ext>
            </a:extLst>
          </p:cNvPr>
          <p:cNvGrpSpPr/>
          <p:nvPr/>
        </p:nvGrpSpPr>
        <p:grpSpPr bwMode="gray">
          <a:xfrm>
            <a:off x="11291118" y="285752"/>
            <a:ext cx="359533" cy="148374"/>
            <a:chOff x="8471146" y="285750"/>
            <a:chExt cx="269638" cy="148374"/>
          </a:xfrm>
        </p:grpSpPr>
        <p:sp>
          <p:nvSpPr>
            <p:cNvPr id="20" name="StickerRectangle">
              <a:extLst>
                <a:ext uri="{FF2B5EF4-FFF2-40B4-BE49-F238E27FC236}">
                  <a16:creationId xmlns:a16="http://schemas.microsoft.com/office/drawing/2014/main" xmlns="" id="{1E5AEE43-9CA1-4C1A-8F9C-707F39AD426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71155" y="285750"/>
              <a:ext cx="269629" cy="14837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77443">
                <a:buClr>
                  <a:srgbClr val="002960"/>
                </a:buClr>
              </a:pPr>
              <a:r>
                <a:rPr lang="en-US" sz="784" baseline="0" dirty="0">
                  <a:solidFill>
                    <a:schemeClr val="accent6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STICKER</a:t>
              </a:r>
            </a:p>
          </p:txBody>
        </p:sp>
        <p:cxnSp>
          <p:nvCxnSpPr>
            <p:cNvPr id="21" name="AutoShape 31">
              <a:extLst>
                <a:ext uri="{FF2B5EF4-FFF2-40B4-BE49-F238E27FC236}">
                  <a16:creationId xmlns:a16="http://schemas.microsoft.com/office/drawing/2014/main" xmlns="" id="{859BCCB4-F132-4E1A-BFA1-FA85C20CEC0A}"/>
                </a:ext>
              </a:extLst>
            </p:cNvPr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71146" y="285750"/>
              <a:ext cx="0" cy="14837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>
              <a:extLst>
                <a:ext uri="{FF2B5EF4-FFF2-40B4-BE49-F238E27FC236}">
                  <a16:creationId xmlns:a16="http://schemas.microsoft.com/office/drawing/2014/main" xmlns="" id="{65F249C0-F203-445A-80CB-8D05DC3432CB}"/>
                </a:ext>
              </a:extLst>
            </p:cNvPr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71146" y="434124"/>
              <a:ext cx="26962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Lines" hidden="1">
            <a:extLst>
              <a:ext uri="{FF2B5EF4-FFF2-40B4-BE49-F238E27FC236}">
                <a16:creationId xmlns:a16="http://schemas.microsoft.com/office/drawing/2014/main" xmlns="" id="{C09CF1AE-18B5-4A05-968F-8E22AD4154C8}"/>
              </a:ext>
            </a:extLst>
          </p:cNvPr>
          <p:cNvGrpSpPr/>
          <p:nvPr/>
        </p:nvGrpSpPr>
        <p:grpSpPr>
          <a:xfrm>
            <a:off x="10058600" y="272355"/>
            <a:ext cx="1267232" cy="757248"/>
            <a:chOff x="7607284" y="279400"/>
            <a:chExt cx="950382" cy="757249"/>
          </a:xfrm>
        </p:grpSpPr>
        <p:sp>
          <p:nvSpPr>
            <p:cNvPr id="25" name="LineLegend1">
              <a:extLst>
                <a:ext uri="{FF2B5EF4-FFF2-40B4-BE49-F238E27FC236}">
                  <a16:creationId xmlns:a16="http://schemas.microsoft.com/office/drawing/2014/main" xmlns="" id="{6E4E729C-CF27-469E-BC29-42E6DDE52CD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599" baseline="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6" name="LineLegend2">
              <a:extLst>
                <a:ext uri="{FF2B5EF4-FFF2-40B4-BE49-F238E27FC236}">
                  <a16:creationId xmlns:a16="http://schemas.microsoft.com/office/drawing/2014/main" xmlns="" id="{605547A6-1672-4A2F-A185-7CED9DC77A6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599" baseline="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7" name="LineLegend3">
              <a:extLst>
                <a:ext uri="{FF2B5EF4-FFF2-40B4-BE49-F238E27FC236}">
                  <a16:creationId xmlns:a16="http://schemas.microsoft.com/office/drawing/2014/main" xmlns="" id="{CB74C4EA-2B84-4C6B-BDFD-3B91B1F4A42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599" baseline="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8" name="Legend1">
              <a:extLst>
                <a:ext uri="{FF2B5EF4-FFF2-40B4-BE49-F238E27FC236}">
                  <a16:creationId xmlns:a16="http://schemas.microsoft.com/office/drawing/2014/main" xmlns="" id="{4830EF76-F64C-47AA-8C70-B48DB7810355}"/>
                </a:ext>
              </a:extLst>
            </p:cNvPr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8169259" y="279400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29" name="Legend2">
              <a:extLst>
                <a:ext uri="{FF2B5EF4-FFF2-40B4-BE49-F238E27FC236}">
                  <a16:creationId xmlns:a16="http://schemas.microsoft.com/office/drawing/2014/main" xmlns="" id="{1CC412BD-A418-4880-A312-67FEF6330524}"/>
                </a:ext>
              </a:extLst>
            </p:cNvPr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8169259" y="546100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30" name="Legend3">
              <a:extLst>
                <a:ext uri="{FF2B5EF4-FFF2-40B4-BE49-F238E27FC236}">
                  <a16:creationId xmlns:a16="http://schemas.microsoft.com/office/drawing/2014/main" xmlns="" id="{2C424360-7EE9-43F1-B3CE-C9E680649FA6}"/>
                </a:ext>
              </a:extLst>
            </p:cNvPr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825501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</p:grpSp>
      <p:grpSp>
        <p:nvGrpSpPr>
          <p:cNvPr id="31" name="LegendBoxes" hidden="1">
            <a:extLst>
              <a:ext uri="{FF2B5EF4-FFF2-40B4-BE49-F238E27FC236}">
                <a16:creationId xmlns:a16="http://schemas.microsoft.com/office/drawing/2014/main" xmlns="" id="{3152D7CE-B5AF-48C9-8163-3B00CA962908}"/>
              </a:ext>
            </a:extLst>
          </p:cNvPr>
          <p:cNvGrpSpPr/>
          <p:nvPr/>
        </p:nvGrpSpPr>
        <p:grpSpPr>
          <a:xfrm>
            <a:off x="10469255" y="272458"/>
            <a:ext cx="856581" cy="1023948"/>
            <a:chOff x="5894005" y="919828"/>
            <a:chExt cx="642407" cy="1023949"/>
          </a:xfrm>
        </p:grpSpPr>
        <p:sp>
          <p:nvSpPr>
            <p:cNvPr id="32" name="RectangleLegend1">
              <a:extLst>
                <a:ext uri="{FF2B5EF4-FFF2-40B4-BE49-F238E27FC236}">
                  <a16:creationId xmlns:a16="http://schemas.microsoft.com/office/drawing/2014/main" xmlns="" id="{D6B30678-9151-43BF-9B4C-4DB0625A93C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599" baseline="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3" name="RectangleLegend2">
              <a:extLst>
                <a:ext uri="{FF2B5EF4-FFF2-40B4-BE49-F238E27FC236}">
                  <a16:creationId xmlns:a16="http://schemas.microsoft.com/office/drawing/2014/main" xmlns="" id="{7DEFBDC2-6FBE-46D6-BB92-FF7131E772F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599" baseline="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4" name="RectangleLegend3">
              <a:extLst>
                <a:ext uri="{FF2B5EF4-FFF2-40B4-BE49-F238E27FC236}">
                  <a16:creationId xmlns:a16="http://schemas.microsoft.com/office/drawing/2014/main" xmlns="" id="{99CEF0ED-629B-4B1B-AA22-FF7E7102512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599" baseline="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5" name="RectangleLegend4">
              <a:extLst>
                <a:ext uri="{FF2B5EF4-FFF2-40B4-BE49-F238E27FC236}">
                  <a16:creationId xmlns:a16="http://schemas.microsoft.com/office/drawing/2014/main" xmlns="" id="{9FC9AE04-ECC5-49AA-83D9-A50F8C3B8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599" baseline="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6" name="Legend1">
              <a:extLst>
                <a:ext uri="{FF2B5EF4-FFF2-40B4-BE49-F238E27FC236}">
                  <a16:creationId xmlns:a16="http://schemas.microsoft.com/office/drawing/2014/main" xmlns="" id="{20DB3DB5-FE61-4830-A95E-895FE612923E}"/>
                </a:ext>
              </a:extLst>
            </p:cNvPr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6148005" y="919828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37" name="Legend2">
              <a:extLst>
                <a:ext uri="{FF2B5EF4-FFF2-40B4-BE49-F238E27FC236}">
                  <a16:creationId xmlns:a16="http://schemas.microsoft.com/office/drawing/2014/main" xmlns="" id="{6BA38D5C-4662-40A1-80D4-59218788CCA4}"/>
                </a:ext>
              </a:extLst>
            </p:cNvPr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6148005" y="1189703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38" name="Legend3">
              <a:extLst>
                <a:ext uri="{FF2B5EF4-FFF2-40B4-BE49-F238E27FC236}">
                  <a16:creationId xmlns:a16="http://schemas.microsoft.com/office/drawing/2014/main" xmlns="" id="{F6E468B5-FD40-42DE-8D1C-9DF0E4E2D785}"/>
                </a:ext>
              </a:extLst>
            </p:cNvPr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1461166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39" name="Legend4">
              <a:extLst>
                <a:ext uri="{FF2B5EF4-FFF2-40B4-BE49-F238E27FC236}">
                  <a16:creationId xmlns:a16="http://schemas.microsoft.com/office/drawing/2014/main" xmlns="" id="{30C1A9EE-7EA3-431C-B21C-77604769D975}"/>
                </a:ext>
              </a:extLst>
            </p:cNvPr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732629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</p:grpSp>
      <p:grpSp>
        <p:nvGrpSpPr>
          <p:cNvPr id="40" name="LegendMoons" hidden="1">
            <a:extLst>
              <a:ext uri="{FF2B5EF4-FFF2-40B4-BE49-F238E27FC236}">
                <a16:creationId xmlns:a16="http://schemas.microsoft.com/office/drawing/2014/main" xmlns="" id="{7A8C3989-5146-471B-A276-90994769CB0C}"/>
              </a:ext>
            </a:extLst>
          </p:cNvPr>
          <p:cNvGrpSpPr/>
          <p:nvPr/>
        </p:nvGrpSpPr>
        <p:grpSpPr>
          <a:xfrm>
            <a:off x="10380348" y="271953"/>
            <a:ext cx="945485" cy="1314057"/>
            <a:chOff x="5894005" y="2695123"/>
            <a:chExt cx="709082" cy="1314057"/>
          </a:xfrm>
        </p:grpSpPr>
        <p:grpSp>
          <p:nvGrpSpPr>
            <p:cNvPr id="41" name="MoonLegend1">
              <a:extLst>
                <a:ext uri="{FF2B5EF4-FFF2-40B4-BE49-F238E27FC236}">
                  <a16:creationId xmlns:a16="http://schemas.microsoft.com/office/drawing/2014/main" xmlns="" id="{DC55A7B2-C455-418F-BB9F-EE04A7C3CF1C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xmlns="" id="{B4C5AE24-2FE5-49E5-AB02-3B1349FBA02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99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0" name="Arc 59">
                <a:extLst>
                  <a:ext uri="{FF2B5EF4-FFF2-40B4-BE49-F238E27FC236}">
                    <a16:creationId xmlns:a16="http://schemas.microsoft.com/office/drawing/2014/main" xmlns="" id="{C78E24F2-3D4E-4A63-910E-68BA8A37726B}"/>
                  </a:ext>
                </a:extLst>
              </p:cNvPr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99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42" name="MoonLegend2">
              <a:extLst>
                <a:ext uri="{FF2B5EF4-FFF2-40B4-BE49-F238E27FC236}">
                  <a16:creationId xmlns:a16="http://schemas.microsoft.com/office/drawing/2014/main" xmlns="" id="{4F057237-2383-47D5-920A-40B2E61A0585}"/>
                </a:ext>
              </a:extLst>
            </p:cNvPr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57" name="Oval 41">
                <a:extLst>
                  <a:ext uri="{FF2B5EF4-FFF2-40B4-BE49-F238E27FC236}">
                    <a16:creationId xmlns:a16="http://schemas.microsoft.com/office/drawing/2014/main" xmlns="" id="{99F17035-2F9A-40DE-BCE8-6B198BF68989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99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58" name="Arc 42">
                <a:extLst>
                  <a:ext uri="{FF2B5EF4-FFF2-40B4-BE49-F238E27FC236}">
                    <a16:creationId xmlns:a16="http://schemas.microsoft.com/office/drawing/2014/main" xmlns="" id="{3DA859E5-5A95-42F9-9AA2-9BEC934DE355}"/>
                  </a:ext>
                </a:extLst>
              </p:cNvPr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99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43" name="MoonLegend4">
              <a:extLst>
                <a:ext uri="{FF2B5EF4-FFF2-40B4-BE49-F238E27FC236}">
                  <a16:creationId xmlns:a16="http://schemas.microsoft.com/office/drawing/2014/main" xmlns="" id="{8E59139F-647D-4BF1-8AC9-9403D5279252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55" name="Oval 47">
                <a:extLst>
                  <a:ext uri="{FF2B5EF4-FFF2-40B4-BE49-F238E27FC236}">
                    <a16:creationId xmlns:a16="http://schemas.microsoft.com/office/drawing/2014/main" xmlns="" id="{0AF410E8-47A6-4D5E-893D-F5B90C7DD5D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99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56" name="Arc 48">
                <a:extLst>
                  <a:ext uri="{FF2B5EF4-FFF2-40B4-BE49-F238E27FC236}">
                    <a16:creationId xmlns:a16="http://schemas.microsoft.com/office/drawing/2014/main" xmlns="" id="{D1CD27D6-1E7B-4B79-828D-9E47FB2873C4}"/>
                  </a:ext>
                </a:extLst>
              </p:cNvPr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99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44" name="MoonLegend5">
              <a:extLst>
                <a:ext uri="{FF2B5EF4-FFF2-40B4-BE49-F238E27FC236}">
                  <a16:creationId xmlns:a16="http://schemas.microsoft.com/office/drawing/2014/main" xmlns="" id="{32CE8755-B82F-4765-B7D4-05F5E2BAF1D3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53" name="Oval 50">
                <a:extLst>
                  <a:ext uri="{FF2B5EF4-FFF2-40B4-BE49-F238E27FC236}">
                    <a16:creationId xmlns:a16="http://schemas.microsoft.com/office/drawing/2014/main" xmlns="" id="{64E30B6B-3348-4938-9CFE-31C6F826919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99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54" name="Oval 51">
                <a:extLst>
                  <a:ext uri="{FF2B5EF4-FFF2-40B4-BE49-F238E27FC236}">
                    <a16:creationId xmlns:a16="http://schemas.microsoft.com/office/drawing/2014/main" xmlns="" id="{1D5CBCB1-AA55-4416-8252-8CAFE4EAD04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99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45" name="MoonLegend3">
              <a:extLst>
                <a:ext uri="{FF2B5EF4-FFF2-40B4-BE49-F238E27FC236}">
                  <a16:creationId xmlns:a16="http://schemas.microsoft.com/office/drawing/2014/main" xmlns="" id="{D35DAD38-AC87-4B86-BC5D-06B5CDD7FD7E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51" name="Oval 47">
                <a:extLst>
                  <a:ext uri="{FF2B5EF4-FFF2-40B4-BE49-F238E27FC236}">
                    <a16:creationId xmlns:a16="http://schemas.microsoft.com/office/drawing/2014/main" xmlns="" id="{471F5580-2914-4B84-9ECF-147E164CD17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99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52" name="Arc 48">
                <a:extLst>
                  <a:ext uri="{FF2B5EF4-FFF2-40B4-BE49-F238E27FC236}">
                    <a16:creationId xmlns:a16="http://schemas.microsoft.com/office/drawing/2014/main" xmlns="" id="{943C9AA2-2D15-4342-B4C5-20E2CC6B306D}"/>
                  </a:ext>
                </a:extLst>
              </p:cNvPr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99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46" name="Legend1">
              <a:extLst>
                <a:ext uri="{FF2B5EF4-FFF2-40B4-BE49-F238E27FC236}">
                  <a16:creationId xmlns:a16="http://schemas.microsoft.com/office/drawing/2014/main" xmlns="" id="{6EA54B09-41B6-48BB-A955-90193D492328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6214680" y="2696542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47" name="Legend2">
              <a:extLst>
                <a:ext uri="{FF2B5EF4-FFF2-40B4-BE49-F238E27FC236}">
                  <a16:creationId xmlns:a16="http://schemas.microsoft.com/office/drawing/2014/main" xmlns="" id="{0AC1EE43-A017-4700-AF61-830731F30FE4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6214680" y="2974156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48" name="Legend3">
              <a:extLst>
                <a:ext uri="{FF2B5EF4-FFF2-40B4-BE49-F238E27FC236}">
                  <a16:creationId xmlns:a16="http://schemas.microsoft.com/office/drawing/2014/main" xmlns="" id="{2A6D11A2-9703-426A-86CA-4962B3EE0CCC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3248596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49" name="Legend4">
              <a:extLst>
                <a:ext uri="{FF2B5EF4-FFF2-40B4-BE49-F238E27FC236}">
                  <a16:creationId xmlns:a16="http://schemas.microsoft.com/office/drawing/2014/main" xmlns="" id="{3EA4E7B0-EFCC-4F9F-913E-143E08E90800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3521448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50" name="Legend5">
              <a:extLst>
                <a:ext uri="{FF2B5EF4-FFF2-40B4-BE49-F238E27FC236}">
                  <a16:creationId xmlns:a16="http://schemas.microsoft.com/office/drawing/2014/main" xmlns="" id="{20FC0E8B-0D7F-4303-9FE5-44FA02D35FD0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796682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</p:grpSp>
      <p:grpSp>
        <p:nvGrpSpPr>
          <p:cNvPr id="63" name="sticker" hidden="1">
            <a:extLst>
              <a:ext uri="{FF2B5EF4-FFF2-40B4-BE49-F238E27FC236}">
                <a16:creationId xmlns:a16="http://schemas.microsoft.com/office/drawing/2014/main" xmlns="" id="{025597A3-7585-4D09-8EDC-160D256F7168}"/>
              </a:ext>
            </a:extLst>
          </p:cNvPr>
          <p:cNvGrpSpPr/>
          <p:nvPr/>
        </p:nvGrpSpPr>
        <p:grpSpPr>
          <a:xfrm>
            <a:off x="9303782" y="2147"/>
            <a:ext cx="2360072" cy="148374"/>
            <a:chOff x="6931568" y="285750"/>
            <a:chExt cx="1806034" cy="151387"/>
          </a:xfrm>
        </p:grpSpPr>
        <p:sp>
          <p:nvSpPr>
            <p:cNvPr id="64" name="StickerRectangle">
              <a:extLst>
                <a:ext uri="{FF2B5EF4-FFF2-40B4-BE49-F238E27FC236}">
                  <a16:creationId xmlns:a16="http://schemas.microsoft.com/office/drawing/2014/main" xmlns="" id="{9DE3FA71-0B83-495C-9250-C7F0CEDD22A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931570" y="285750"/>
              <a:ext cx="1806032" cy="15138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8774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784" b="0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PRELIMINARY DRAFT </a:t>
              </a:r>
              <a:r>
                <a:rPr kumimoji="0" lang="en-US" sz="784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- PROPRIETARY AND CONFIDENTIAL</a:t>
              </a:r>
            </a:p>
          </p:txBody>
        </p:sp>
        <p:cxnSp>
          <p:nvCxnSpPr>
            <p:cNvPr id="65" name="AutoShape 31">
              <a:extLst>
                <a:ext uri="{FF2B5EF4-FFF2-40B4-BE49-F238E27FC236}">
                  <a16:creationId xmlns:a16="http://schemas.microsoft.com/office/drawing/2014/main" xmlns="" id="{F7DA9444-9651-4951-8191-645A566A14FD}"/>
                </a:ext>
              </a:extLst>
            </p:cNvPr>
            <p:cNvCxnSpPr>
              <a:cxnSpLocks noChangeShapeType="1"/>
              <a:stCxn id="64" idx="2"/>
              <a:endCxn id="64" idx="4"/>
            </p:cNvCxnSpPr>
            <p:nvPr/>
          </p:nvCxnSpPr>
          <p:spPr bwMode="gray">
            <a:xfrm>
              <a:off x="6931568" y="285750"/>
              <a:ext cx="0" cy="15138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6" name="AutoShape 32">
              <a:extLst>
                <a:ext uri="{FF2B5EF4-FFF2-40B4-BE49-F238E27FC236}">
                  <a16:creationId xmlns:a16="http://schemas.microsoft.com/office/drawing/2014/main" xmlns="" id="{752022F4-854D-460A-BF46-8564800FD14B}"/>
                </a:ext>
              </a:extLst>
            </p:cNvPr>
            <p:cNvCxnSpPr>
              <a:cxnSpLocks noChangeShapeType="1"/>
              <a:stCxn id="64" idx="4"/>
              <a:endCxn id="64" idx="6"/>
            </p:cNvCxnSpPr>
            <p:nvPr/>
          </p:nvCxnSpPr>
          <p:spPr bwMode="gray">
            <a:xfrm>
              <a:off x="6931568" y="437137"/>
              <a:ext cx="180603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2" name="Slide Number">
            <a:extLst>
              <a:ext uri="{FF2B5EF4-FFF2-40B4-BE49-F238E27FC236}">
                <a16:creationId xmlns:a16="http://schemas.microsoft.com/office/drawing/2014/main" xmlns="" id="{5920B626-7C41-418D-ABDE-078F314165A9}"/>
              </a:ext>
            </a:extLst>
          </p:cNvPr>
          <p:cNvSpPr txBox="1">
            <a:spLocks/>
          </p:cNvSpPr>
          <p:nvPr/>
        </p:nvSpPr>
        <p:spPr bwMode="auto">
          <a:xfrm>
            <a:off x="11533630" y="6509491"/>
            <a:ext cx="117020" cy="12067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784" baseline="0" smtClean="0">
                <a:solidFill>
                  <a:srgbClr val="80808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r"/>
              <a:t>‹#›</a:t>
            </a:fld>
            <a:endParaRPr lang="en-US" sz="784" baseline="0" dirty="0">
              <a:solidFill>
                <a:srgbClr val="80808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032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97626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46" r:id="rId2"/>
    <p:sldLayoutId id="2147483747" r:id="rId3"/>
    <p:sldLayoutId id="2147483756" r:id="rId4"/>
  </p:sldLayoutIdLst>
  <p:txStyles>
    <p:titleStyle>
      <a:lvl1pPr algn="l" defTabSz="877443" rtl="0" eaLnBrk="1" fontAlgn="base" hangingPunct="1">
        <a:spcBef>
          <a:spcPct val="0"/>
        </a:spcBef>
        <a:spcAft>
          <a:spcPct val="0"/>
        </a:spcAft>
        <a:tabLst>
          <a:tab pos="264478" algn="l"/>
        </a:tabLst>
        <a:defRPr sz="2000" b="1" baseline="0">
          <a:solidFill>
            <a:schemeClr val="tx2"/>
          </a:solidFill>
          <a:latin typeface="Calibri" panose="020F0502020204030204" pitchFamily="34" charset="0"/>
          <a:ea typeface="+mj-ea"/>
          <a:cs typeface="Calibri" panose="020F0502020204030204" pitchFamily="34" charset="0"/>
          <a:sym typeface="Calibri" panose="020F0502020204030204" pitchFamily="34" charset="0"/>
        </a:defRPr>
      </a:lvl1pPr>
      <a:lvl2pPr algn="l" defTabSz="877443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2pPr>
      <a:lvl3pPr algn="l" defTabSz="877443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3pPr>
      <a:lvl4pPr algn="l" defTabSz="877443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4pPr>
      <a:lvl5pPr algn="l" defTabSz="877443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5pPr>
      <a:lvl6pPr marL="448056" algn="l" defTabSz="877443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6pPr>
      <a:lvl7pPr marL="896112" algn="l" defTabSz="877443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7pPr>
      <a:lvl8pPr marL="1344168" algn="l" defTabSz="877443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8pPr>
      <a:lvl9pPr marL="1792224" algn="l" defTabSz="877443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9pPr>
    </p:titleStyle>
    <p:bodyStyle>
      <a:lvl1pPr marL="0" indent="0" algn="l" defTabSz="87744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1pPr>
      <a:lvl2pPr marL="189802" indent="-188246" algn="l" defTabSz="87744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  <a:sym typeface="Calibri" panose="020F0502020204030204" pitchFamily="34" charset="0"/>
        </a:defRPr>
      </a:lvl2pPr>
      <a:lvl3pPr marL="448056" indent="-256699" algn="l" defTabSz="87744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  <a:sym typeface="Calibri" panose="020F0502020204030204" pitchFamily="34" charset="0"/>
        </a:defRPr>
      </a:lvl3pPr>
      <a:lvl4pPr marL="602076" indent="-152464" algn="l" defTabSz="87744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  <a:sym typeface="Calibri" panose="020F0502020204030204" pitchFamily="34" charset="0"/>
        </a:defRPr>
      </a:lvl4pPr>
      <a:lvl5pPr marL="734812" indent="-127572" algn="l" defTabSz="87744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  <a:sym typeface="Calibri" panose="020F0502020204030204" pitchFamily="34" charset="0"/>
        </a:defRPr>
      </a:lvl5pPr>
      <a:lvl6pPr marL="734812" indent="-127572" algn="l" defTabSz="87744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8" baseline="0">
          <a:solidFill>
            <a:schemeClr val="tx1"/>
          </a:solidFill>
          <a:latin typeface="+mn-lt"/>
        </a:defRPr>
      </a:lvl6pPr>
      <a:lvl7pPr marL="734812" indent="-127572" algn="l" defTabSz="87744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8" baseline="0">
          <a:solidFill>
            <a:schemeClr val="tx1"/>
          </a:solidFill>
          <a:latin typeface="+mn-lt"/>
        </a:defRPr>
      </a:lvl7pPr>
      <a:lvl8pPr marL="734812" indent="-127572" algn="l" defTabSz="87744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8" baseline="0">
          <a:solidFill>
            <a:schemeClr val="tx1"/>
          </a:solidFill>
          <a:latin typeface="+mn-lt"/>
        </a:defRPr>
      </a:lvl8pPr>
      <a:lvl9pPr marL="734812" indent="-127572" algn="l" defTabSz="87744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8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48056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96112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44168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792224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40280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688336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36392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584448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9.xml"/><Relationship Id="rId4" Type="http://schemas.openxmlformats.org/officeDocument/2006/relationships/image" Target="../media/image9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hyperlink" Target="about:blank" TargetMode="Externa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about:blank" TargetMode="Externa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hyperlink" Target="about:blank" TargetMode="Externa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31.png"/><Relationship Id="rId7" Type="http://schemas.openxmlformats.org/officeDocument/2006/relationships/hyperlink" Target="about:blank" TargetMode="External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about:blank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Relationship Id="rId4" Type="http://schemas.openxmlformats.org/officeDocument/2006/relationships/hyperlink" Target="about:blank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DD8B4B71-89F1-4106-928E-FF503AD22D7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136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 bwMode="gray">
          <a:xfrm>
            <a:off x="482890" y="1789184"/>
            <a:ext cx="5491666" cy="123110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4000" b="1" dirty="0">
                <a:solidFill>
                  <a:schemeClr val="accent2"/>
                </a:solidFill>
              </a:rPr>
              <a:t>COVID-19 </a:t>
            </a:r>
            <a:br>
              <a:rPr lang="en-US" sz="4000" b="1" dirty="0">
                <a:solidFill>
                  <a:schemeClr val="accent2"/>
                </a:solidFill>
              </a:rPr>
            </a:br>
            <a:r>
              <a:rPr lang="en-US" sz="4000" b="1" dirty="0"/>
              <a:t>Economic Relief Package</a:t>
            </a:r>
            <a:endParaRPr lang="en-US" sz="4000" dirty="0">
              <a:latin typeface="Calibri Light" panose="020F0302020204030204" pitchFamily="34" charset="0"/>
              <a:cs typeface="Calibri Light" panose="020F03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Document type">
            <a:extLst>
              <a:ext uri="{FF2B5EF4-FFF2-40B4-BE49-F238E27FC236}">
                <a16:creationId xmlns:a16="http://schemas.microsoft.com/office/drawing/2014/main" xmlns="" id="{474D1DC8-F476-4C1D-80D3-A1A32CCC719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82890" y="5343127"/>
            <a:ext cx="717716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 sz="1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March 31, 2020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C412E705-65FA-494C-AF35-B822664D00E2}"/>
              </a:ext>
            </a:extLst>
          </p:cNvPr>
          <p:cNvSpPr/>
          <p:nvPr/>
        </p:nvSpPr>
        <p:spPr>
          <a:xfrm>
            <a:off x="398094" y="3180884"/>
            <a:ext cx="5972175" cy="181588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800" kern="0" dirty="0">
                <a:solidFill>
                  <a:srgbClr val="FFFFFF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" panose="020F0502020204030204" pitchFamily="34" charset="0"/>
              </a:rPr>
              <a:t>NJEDA initiatives aimed at stabilizing and revitalizing local small businesses, mid-size businesses, and other </a:t>
            </a:r>
          </a:p>
          <a:p>
            <a:r>
              <a:rPr lang="en-US" sz="2800" kern="0" dirty="0">
                <a:solidFill>
                  <a:srgbClr val="FFFFFF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" panose="020F0502020204030204" pitchFamily="34" charset="0"/>
              </a:rPr>
              <a:t>early-stage companies</a:t>
            </a:r>
            <a:endParaRPr lang="en-US" sz="2000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D3C8C962-6D89-D34A-B39A-53B2314ED6A2}"/>
              </a:ext>
            </a:extLst>
          </p:cNvPr>
          <p:cNvCxnSpPr/>
          <p:nvPr/>
        </p:nvCxnSpPr>
        <p:spPr>
          <a:xfrm>
            <a:off x="482890" y="3137715"/>
            <a:ext cx="507907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11760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88788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C59C806-6027-4E59-91FD-54EEEFD6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nt Application Screen Shots:</a:t>
            </a:r>
            <a:r>
              <a:rPr lang="en-US" b="0" dirty="0"/>
              <a:t> Additional Background and Certifications (1/2)</a:t>
            </a:r>
            <a:endParaRPr lang="en-US" dirty="0"/>
          </a:p>
        </p:txBody>
      </p:sp>
      <p:pic>
        <p:nvPicPr>
          <p:cNvPr id="5" name="Picture 4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xmlns="" id="{53F3DC77-70C0-4092-AB27-18A8C209ED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5974" y="815388"/>
            <a:ext cx="8237462" cy="5440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9751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C59C806-6027-4E59-91FD-54EEEFD6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nt Application Screen Shots:</a:t>
            </a:r>
            <a:r>
              <a:rPr lang="en-US" b="0" dirty="0"/>
              <a:t> Additional Background Information</a:t>
            </a:r>
            <a:endParaRPr lang="en-US" dirty="0"/>
          </a:p>
        </p:txBody>
      </p:sp>
      <p:pic>
        <p:nvPicPr>
          <p:cNvPr id="4" name="Picture 3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xmlns="" id="{5FB7A701-DB58-4083-86BC-798DC4E3EAA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416" y="739303"/>
            <a:ext cx="5664110" cy="5845985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xmlns="" id="{5B592D45-0F1F-432E-934A-AE24C3CC8374}"/>
              </a:ext>
            </a:extLst>
          </p:cNvPr>
          <p:cNvCxnSpPr/>
          <p:nvPr/>
        </p:nvCxnSpPr>
        <p:spPr>
          <a:xfrm flipH="1">
            <a:off x="6079786" y="1089961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xmlns="" id="{7A6BD136-DA72-4372-96DC-EB59CCCB5D84}"/>
              </a:ext>
            </a:extLst>
          </p:cNvPr>
          <p:cNvCxnSpPr/>
          <p:nvPr/>
        </p:nvCxnSpPr>
        <p:spPr>
          <a:xfrm flipH="1">
            <a:off x="6079786" y="1848256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xmlns="" id="{D9A5C6E5-8FBA-4642-9D4C-FB685FF96CB0}"/>
              </a:ext>
            </a:extLst>
          </p:cNvPr>
          <p:cNvCxnSpPr/>
          <p:nvPr/>
        </p:nvCxnSpPr>
        <p:spPr>
          <a:xfrm flipH="1">
            <a:off x="6079786" y="2996044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xmlns="" id="{A522D4E7-DF29-47EB-85B9-A51CFC182DA8}"/>
              </a:ext>
            </a:extLst>
          </p:cNvPr>
          <p:cNvCxnSpPr/>
          <p:nvPr/>
        </p:nvCxnSpPr>
        <p:spPr>
          <a:xfrm flipH="1">
            <a:off x="6079786" y="3978820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xmlns="" id="{B4665343-C2B5-48E6-80AB-46A38C9F1339}"/>
              </a:ext>
            </a:extLst>
          </p:cNvPr>
          <p:cNvCxnSpPr/>
          <p:nvPr/>
        </p:nvCxnSpPr>
        <p:spPr>
          <a:xfrm flipH="1">
            <a:off x="6079786" y="4875416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xmlns="" id="{962C3C5C-E58C-46FC-977D-668C7741ED57}"/>
              </a:ext>
            </a:extLst>
          </p:cNvPr>
          <p:cNvCxnSpPr/>
          <p:nvPr/>
        </p:nvCxnSpPr>
        <p:spPr>
          <a:xfrm flipH="1">
            <a:off x="6079786" y="5863648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A26B5394-425E-49B5-BC50-0D95BE836048}"/>
              </a:ext>
            </a:extLst>
          </p:cNvPr>
          <p:cNvSpPr txBox="1"/>
          <p:nvPr/>
        </p:nvSpPr>
        <p:spPr>
          <a:xfrm>
            <a:off x="7587573" y="936072"/>
            <a:ext cx="34727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Question about prior conviction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87E106D6-E89E-4537-A085-1DEA15AF35D6}"/>
              </a:ext>
            </a:extLst>
          </p:cNvPr>
          <p:cNvSpPr txBox="1"/>
          <p:nvPr/>
        </p:nvSpPr>
        <p:spPr>
          <a:xfrm>
            <a:off x="7587573" y="1694367"/>
            <a:ext cx="34727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Questions about license or permit denials or revocation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ABD16B17-9A86-437E-BF04-803635C581B7}"/>
              </a:ext>
            </a:extLst>
          </p:cNvPr>
          <p:cNvSpPr txBox="1"/>
          <p:nvPr/>
        </p:nvSpPr>
        <p:spPr>
          <a:xfrm>
            <a:off x="7587573" y="2813510"/>
            <a:ext cx="34727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Question about public debarmen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1C13327E-ACC4-4697-9206-37ACE60A5145}"/>
              </a:ext>
            </a:extLst>
          </p:cNvPr>
          <p:cNvSpPr txBox="1"/>
          <p:nvPr/>
        </p:nvSpPr>
        <p:spPr>
          <a:xfrm>
            <a:off x="7587573" y="3717210"/>
            <a:ext cx="34727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Question about breaking the terms of an agreement with a public agenc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766AA45E-6D2F-43EA-978F-4817F6062ABB}"/>
              </a:ext>
            </a:extLst>
          </p:cNvPr>
          <p:cNvSpPr txBox="1"/>
          <p:nvPr/>
        </p:nvSpPr>
        <p:spPr>
          <a:xfrm>
            <a:off x="7587573" y="4721527"/>
            <a:ext cx="34727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Question about any injunction orders in favor of a government agenc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D840A3F1-EF19-4890-83AD-04D56B329BE1}"/>
              </a:ext>
            </a:extLst>
          </p:cNvPr>
          <p:cNvSpPr txBox="1"/>
          <p:nvPr/>
        </p:nvSpPr>
        <p:spPr>
          <a:xfrm>
            <a:off x="7587573" y="5602038"/>
            <a:ext cx="34727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Question about ongoing criminal or civil proceedings</a:t>
            </a:r>
          </a:p>
        </p:txBody>
      </p:sp>
    </p:spTree>
    <p:extLst>
      <p:ext uri="{BB962C8B-B14F-4D97-AF65-F5344CB8AC3E}">
        <p14:creationId xmlns:p14="http://schemas.microsoft.com/office/powerpoint/2010/main" val="1677535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C59C806-6027-4E59-91FD-54EEEFD6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nt Application Screen Shots:</a:t>
            </a:r>
            <a:r>
              <a:rPr lang="en-US" b="0" dirty="0"/>
              <a:t> Certifications (1/2)</a:t>
            </a:r>
            <a:endParaRPr lang="en-US" dirty="0"/>
          </a:p>
        </p:txBody>
      </p:sp>
      <p:pic>
        <p:nvPicPr>
          <p:cNvPr id="4" name="Picture 3" descr="A screenshot of a social media post&#10;&#10;Description generated with very high confidence">
            <a:extLst>
              <a:ext uri="{FF2B5EF4-FFF2-40B4-BE49-F238E27FC236}">
                <a16:creationId xmlns:a16="http://schemas.microsoft.com/office/drawing/2014/main" xmlns="" id="{17806439-0D88-41C2-88BF-A46062B6FA3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580" y="780309"/>
            <a:ext cx="6422354" cy="5656385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xmlns="" id="{5B592D45-0F1F-432E-934A-AE24C3CC8374}"/>
              </a:ext>
            </a:extLst>
          </p:cNvPr>
          <p:cNvCxnSpPr/>
          <p:nvPr/>
        </p:nvCxnSpPr>
        <p:spPr>
          <a:xfrm flipH="1">
            <a:off x="6780178" y="1371600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xmlns="" id="{7A6BD136-DA72-4372-96DC-EB59CCCB5D84}"/>
              </a:ext>
            </a:extLst>
          </p:cNvPr>
          <p:cNvCxnSpPr/>
          <p:nvPr/>
        </p:nvCxnSpPr>
        <p:spPr>
          <a:xfrm flipH="1">
            <a:off x="6780178" y="1955260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xmlns="" id="{D9A5C6E5-8FBA-4642-9D4C-FB685FF96CB0}"/>
              </a:ext>
            </a:extLst>
          </p:cNvPr>
          <p:cNvCxnSpPr/>
          <p:nvPr/>
        </p:nvCxnSpPr>
        <p:spPr>
          <a:xfrm flipH="1">
            <a:off x="6780178" y="2626467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xmlns="" id="{A522D4E7-DF29-47EB-85B9-A51CFC182DA8}"/>
              </a:ext>
            </a:extLst>
          </p:cNvPr>
          <p:cNvCxnSpPr/>
          <p:nvPr/>
        </p:nvCxnSpPr>
        <p:spPr>
          <a:xfrm flipH="1">
            <a:off x="6780178" y="3521411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xmlns="" id="{B4665343-C2B5-48E6-80AB-46A38C9F1339}"/>
              </a:ext>
            </a:extLst>
          </p:cNvPr>
          <p:cNvCxnSpPr/>
          <p:nvPr/>
        </p:nvCxnSpPr>
        <p:spPr>
          <a:xfrm flipH="1">
            <a:off x="6780178" y="4299626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xmlns="" id="{962C3C5C-E58C-46FC-977D-668C7741ED57}"/>
              </a:ext>
            </a:extLst>
          </p:cNvPr>
          <p:cNvCxnSpPr/>
          <p:nvPr/>
        </p:nvCxnSpPr>
        <p:spPr>
          <a:xfrm flipH="1">
            <a:off x="6780178" y="4883286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xmlns="" id="{C9D14847-499B-45B8-9B8C-9028C7FB0C4F}"/>
              </a:ext>
            </a:extLst>
          </p:cNvPr>
          <p:cNvCxnSpPr/>
          <p:nvPr/>
        </p:nvCxnSpPr>
        <p:spPr>
          <a:xfrm flipH="1">
            <a:off x="6780178" y="5466945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xmlns="" id="{416C82C3-74E4-44D0-9493-7BABAD1E3E64}"/>
              </a:ext>
            </a:extLst>
          </p:cNvPr>
          <p:cNvCxnSpPr/>
          <p:nvPr/>
        </p:nvCxnSpPr>
        <p:spPr>
          <a:xfrm flipH="1">
            <a:off x="6780178" y="6128426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A26B5394-425E-49B5-BC50-0D95BE836048}"/>
              </a:ext>
            </a:extLst>
          </p:cNvPr>
          <p:cNvSpPr txBox="1"/>
          <p:nvPr/>
        </p:nvSpPr>
        <p:spPr>
          <a:xfrm>
            <a:off x="8287965" y="1217711"/>
            <a:ext cx="34727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False statements can be prosecute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87E106D6-E89E-4537-A085-1DEA15AF35D6}"/>
              </a:ext>
            </a:extLst>
          </p:cNvPr>
          <p:cNvSpPr txBox="1"/>
          <p:nvPr/>
        </p:nvSpPr>
        <p:spPr>
          <a:xfrm>
            <a:off x="8287965" y="1801371"/>
            <a:ext cx="34727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Dept. of Law can verify my answer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ABD16B17-9A86-437E-BF04-803635C581B7}"/>
              </a:ext>
            </a:extLst>
          </p:cNvPr>
          <p:cNvSpPr txBox="1"/>
          <p:nvPr/>
        </p:nvSpPr>
        <p:spPr>
          <a:xfrm>
            <a:off x="8287965" y="2252496"/>
            <a:ext cx="34727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Best effort not to lay off employees and rehire those that have already been let go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1C13327E-ACC4-4697-9206-37ACE60A5145}"/>
              </a:ext>
            </a:extLst>
          </p:cNvPr>
          <p:cNvSpPr txBox="1"/>
          <p:nvPr/>
        </p:nvSpPr>
        <p:spPr>
          <a:xfrm>
            <a:off x="8287965" y="3259801"/>
            <a:ext cx="34727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I have been negative impacted by COVID-19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766AA45E-6D2F-43EA-978F-4817F6062ABB}"/>
              </a:ext>
            </a:extLst>
          </p:cNvPr>
          <p:cNvSpPr txBox="1"/>
          <p:nvPr/>
        </p:nvSpPr>
        <p:spPr>
          <a:xfrm>
            <a:off x="8287965" y="4145737"/>
            <a:ext cx="34727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This grant is needed by my busines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D840A3F1-EF19-4890-83AD-04D56B329BE1}"/>
              </a:ext>
            </a:extLst>
          </p:cNvPr>
          <p:cNvSpPr txBox="1"/>
          <p:nvPr/>
        </p:nvSpPr>
        <p:spPr>
          <a:xfrm>
            <a:off x="8287965" y="4621676"/>
            <a:ext cx="34727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NJEDA can share information with specific parties to execute this gran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C207F9F7-B323-46F9-8A3A-21551CF96537}"/>
              </a:ext>
            </a:extLst>
          </p:cNvPr>
          <p:cNvSpPr txBox="1"/>
          <p:nvPr/>
        </p:nvSpPr>
        <p:spPr>
          <a:xfrm>
            <a:off x="8287965" y="5205335"/>
            <a:ext cx="34727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I am in good standing with the Departments of Labor and Taxatio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A474DC7A-844B-4A81-A7B5-EEB7132CA31B}"/>
              </a:ext>
            </a:extLst>
          </p:cNvPr>
          <p:cNvSpPr txBox="1"/>
          <p:nvPr/>
        </p:nvSpPr>
        <p:spPr>
          <a:xfrm>
            <a:off x="8287965" y="5974537"/>
            <a:ext cx="34727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I am signing this electronically</a:t>
            </a:r>
          </a:p>
        </p:txBody>
      </p:sp>
    </p:spTree>
    <p:extLst>
      <p:ext uri="{BB962C8B-B14F-4D97-AF65-F5344CB8AC3E}">
        <p14:creationId xmlns:p14="http://schemas.microsoft.com/office/powerpoint/2010/main" val="31857199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C59C806-6027-4E59-91FD-54EEEFD67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60" y="284781"/>
            <a:ext cx="11491891" cy="307777"/>
          </a:xfrm>
        </p:spPr>
        <p:txBody>
          <a:bodyPr/>
          <a:lstStyle/>
          <a:p>
            <a:r>
              <a:rPr lang="en-US" dirty="0"/>
              <a:t>Grant Application Screen Shots:</a:t>
            </a:r>
            <a:r>
              <a:rPr lang="en-US" b="0" dirty="0"/>
              <a:t> Certifications (2/2)</a:t>
            </a:r>
            <a:endParaRPr lang="en-US" dirty="0"/>
          </a:p>
        </p:txBody>
      </p:sp>
      <p:pic>
        <p:nvPicPr>
          <p:cNvPr id="16" name="Picture 15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xmlns="" id="{7F422390-68EC-47FA-94A4-3CCF8D1A3E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448" y="892332"/>
            <a:ext cx="9846215" cy="535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7068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053CB566-DF42-4A2C-9A50-71253C18DFFE}"/>
              </a:ext>
            </a:extLst>
          </p:cNvPr>
          <p:cNvSpPr/>
          <p:nvPr/>
        </p:nvSpPr>
        <p:spPr>
          <a:xfrm>
            <a:off x="1521061" y="927298"/>
            <a:ext cx="8906990" cy="510385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64F30076-415F-488A-B99F-22D5E555E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nt Application Screen Shots:</a:t>
            </a:r>
            <a:r>
              <a:rPr lang="en-US" b="0" dirty="0"/>
              <a:t> Confirmatio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F4B7A639-BD02-48DE-9A46-CCDFC716FC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9190" y="1109814"/>
            <a:ext cx="8170732" cy="4577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05224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7FCDD9B-F4E2-4CB1-B2EA-5153D2CFE5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nt Award Size Estimate Calculator Screen Shot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xmlns="" id="{6C98C408-9E91-4A36-8A7E-BE873FC1F7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6631346"/>
              </p:ext>
            </p:extLst>
          </p:nvPr>
        </p:nvGraphicFramePr>
        <p:xfrm>
          <a:off x="434331" y="5872814"/>
          <a:ext cx="5665843" cy="1127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65843">
                  <a:extLst>
                    <a:ext uri="{9D8B030D-6E8A-4147-A177-3AD203B41FA5}">
                      <a16:colId xmlns:a16="http://schemas.microsoft.com/office/drawing/2014/main" xmlns="" val="2221384788"/>
                    </a:ext>
                  </a:extLst>
                </a:gridCol>
              </a:tblGrid>
              <a:tr h="515829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vailable at: </a:t>
                      </a:r>
                      <a:r>
                        <a:rPr lang="en-US" sz="2400" b="1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  <a:hlinkClick r:id="rId2"/>
                        </a:rPr>
                        <a:t>https://cv.business.nj.gov</a:t>
                      </a:r>
                      <a:r>
                        <a:rPr lang="en-US" sz="2400" b="1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b="1" dirty="0">
                        <a:solidFill>
                          <a:schemeClr val="accent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00830844"/>
                  </a:ext>
                </a:extLst>
              </a:tr>
              <a:tr h="191048"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999216259"/>
                  </a:ext>
                </a:extLst>
              </a:tr>
            </a:tbl>
          </a:graphicData>
        </a:graphic>
      </p:graphicFrame>
      <p:pic>
        <p:nvPicPr>
          <p:cNvPr id="11" name="Picture 10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xmlns="" id="{5243CC8A-238C-4371-A089-FC87557640B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9943" y="3817929"/>
            <a:ext cx="4290745" cy="2618765"/>
          </a:xfrm>
          <a:prstGeom prst="rect">
            <a:avLst/>
          </a:prstGeom>
        </p:spPr>
      </p:pic>
      <p:pic>
        <p:nvPicPr>
          <p:cNvPr id="9" name="Picture 8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xmlns="" id="{462B3FAE-6517-416E-ACB1-127DCB9C63D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4604" y="867032"/>
            <a:ext cx="4256085" cy="2764938"/>
          </a:xfrm>
          <a:prstGeom prst="rect">
            <a:avLst/>
          </a:prstGeom>
        </p:spPr>
      </p:pic>
      <p:pic>
        <p:nvPicPr>
          <p:cNvPr id="7" name="Picture 6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xmlns="" id="{F951D383-FA5A-4F9D-81A8-12D60A80B34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46" y="1149409"/>
            <a:ext cx="6259076" cy="4617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7510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ADF366C8-01C0-0D42-8333-56776FFEBBEE}"/>
              </a:ext>
            </a:extLst>
          </p:cNvPr>
          <p:cNvSpPr/>
          <p:nvPr/>
        </p:nvSpPr>
        <p:spPr>
          <a:xfrm>
            <a:off x="925552" y="1395790"/>
            <a:ext cx="7170234" cy="4106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DC7E42C0-8645-D347-9D5F-CD62BA95D70C}"/>
              </a:ext>
            </a:extLst>
          </p:cNvPr>
          <p:cNvSpPr/>
          <p:nvPr/>
        </p:nvSpPr>
        <p:spPr>
          <a:xfrm>
            <a:off x="831156" y="3783997"/>
            <a:ext cx="10737892" cy="254567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$5M or less annual revenu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ysical commercial location in New Jersey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t least 1 year in existenc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be registered to do business in New Jersey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sz="18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sz="18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nimum Global Debt service ratio of 1.0 based on the year prior to the declaration of emergency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x Clearance; Department of Labor good standing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nimum Credit Score of 600 for at least one guarantor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endParaRPr lang="en-US" sz="18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show negative impact of emergency (e.g., closure, reduced hours, 20% revenue drop, </a:t>
            </a:r>
            <a:b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%, etc.)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itional conditions may apply 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fill out and certify simplified debarment legal questionnair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sz="18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sz="18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8BB44C41-0A7D-1F43-A6D3-3C42CE03485D}"/>
              </a:ext>
            </a:extLst>
          </p:cNvPr>
          <p:cNvGrpSpPr/>
          <p:nvPr/>
        </p:nvGrpSpPr>
        <p:grpSpPr>
          <a:xfrm>
            <a:off x="163041" y="162803"/>
            <a:ext cx="9025563" cy="954107"/>
            <a:chOff x="68563" y="2293601"/>
            <a:chExt cx="9025563" cy="95410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xmlns="" id="{0E42569A-7F31-AE4C-A4BD-0E2B5D38CE06}"/>
                </a:ext>
              </a:extLst>
            </p:cNvPr>
            <p:cNvSpPr/>
            <p:nvPr/>
          </p:nvSpPr>
          <p:spPr>
            <a:xfrm>
              <a:off x="864526" y="2293601"/>
              <a:ext cx="8229600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srgbClr val="05597B"/>
                  </a:solidFill>
                  <a:latin typeface="Segoe Pro" panose="020B0502040504020203" pitchFamily="34" charset="0"/>
                </a:rPr>
                <a:t>SMALL BUSINESS EMERGENCY ASSISTANCE LOAN PROGRAM</a:t>
              </a: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xmlns="" id="{E9A0AD31-6185-DA4B-9FDE-0D7E1C8A4D2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563" y="2316664"/>
              <a:ext cx="851772" cy="851772"/>
            </a:xfrm>
            <a:prstGeom prst="rect">
              <a:avLst/>
            </a:prstGeom>
          </p:spPr>
        </p:pic>
      </p:grp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512E79FC-B62A-0544-B1C2-DC258556E74B}"/>
              </a:ext>
            </a:extLst>
          </p:cNvPr>
          <p:cNvCxnSpPr/>
          <p:nvPr/>
        </p:nvCxnSpPr>
        <p:spPr>
          <a:xfrm>
            <a:off x="380066" y="1202740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2800A325-A289-F74F-B912-86D85A895EAA}"/>
              </a:ext>
            </a:extLst>
          </p:cNvPr>
          <p:cNvSpPr/>
          <p:nvPr/>
        </p:nvSpPr>
        <p:spPr>
          <a:xfrm>
            <a:off x="380066" y="3223513"/>
            <a:ext cx="2281854" cy="506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0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siness Eligibility</a:t>
            </a: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xmlns="" id="{5034B4E1-BD32-0E4B-9E3F-46F1043B09C2}"/>
              </a:ext>
            </a:extLst>
          </p:cNvPr>
          <p:cNvSpPr/>
          <p:nvPr/>
        </p:nvSpPr>
        <p:spPr>
          <a:xfrm>
            <a:off x="1058694" y="1588114"/>
            <a:ext cx="6568740" cy="1686824"/>
          </a:xfrm>
          <a:custGeom>
            <a:avLst/>
            <a:gdLst>
              <a:gd name="connsiteX0" fmla="*/ 0 w 6770922"/>
              <a:gd name="connsiteY0" fmla="*/ 0 h 1344658"/>
              <a:gd name="connsiteX1" fmla="*/ 6098593 w 6770922"/>
              <a:gd name="connsiteY1" fmla="*/ 0 h 1344658"/>
              <a:gd name="connsiteX2" fmla="*/ 6770922 w 6770922"/>
              <a:gd name="connsiteY2" fmla="*/ 672329 h 1344658"/>
              <a:gd name="connsiteX3" fmla="*/ 6098593 w 6770922"/>
              <a:gd name="connsiteY3" fmla="*/ 1344658 h 1344658"/>
              <a:gd name="connsiteX4" fmla="*/ 0 w 6770922"/>
              <a:gd name="connsiteY4" fmla="*/ 1344658 h 1344658"/>
              <a:gd name="connsiteX5" fmla="*/ 0 w 6770922"/>
              <a:gd name="connsiteY5" fmla="*/ 0 h 1344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70922" h="1344658">
                <a:moveTo>
                  <a:pt x="0" y="0"/>
                </a:moveTo>
                <a:lnTo>
                  <a:pt x="6098593" y="0"/>
                </a:lnTo>
                <a:lnTo>
                  <a:pt x="6770922" y="672329"/>
                </a:lnTo>
                <a:lnTo>
                  <a:pt x="6098593" y="1344658"/>
                </a:lnTo>
                <a:lnTo>
                  <a:pt x="0" y="134465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352" tIns="74676" rIns="373502" bIns="74676" numCol="1" spcCol="1270" anchor="ctr" anchorCtr="0">
            <a:noAutofit/>
          </a:bodyPr>
          <a:lstStyle/>
          <a:p>
            <a:pPr defTabSz="1244600">
              <a:lnSpc>
                <a:spcPct val="90000"/>
              </a:lnSpc>
              <a:spcAft>
                <a:spcPct val="35000"/>
              </a:spcAft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Up to $100K working capital loans 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for </a:t>
            </a:r>
            <a:b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up to 10 years for businesses with $5 million or less in revenue; 0% for years </a:t>
            </a:r>
            <a:b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1-5; 1-3% for years 6-10.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xmlns="" id="{1B0BBB80-49DB-3D41-9B03-794E81305C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4252173"/>
              </p:ext>
            </p:extLst>
          </p:nvPr>
        </p:nvGraphicFramePr>
        <p:xfrm>
          <a:off x="8376826" y="1711801"/>
          <a:ext cx="3117824" cy="118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17824">
                  <a:extLst>
                    <a:ext uri="{9D8B030D-6E8A-4147-A177-3AD203B41FA5}">
                      <a16:colId xmlns:a16="http://schemas.microsoft.com/office/drawing/2014/main" xmlns="" val="22213847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JEDA Program Siz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00830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896112" rtl="0" eaLnBrk="1" latinLnBrk="0" hangingPunct="1"/>
                      <a:r>
                        <a:rPr lang="en-US" sz="2800" b="1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$10M</a:t>
                      </a:r>
                    </a:p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(initial wave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9992162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92713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ADF366C8-01C0-0D42-8333-56776FFEBBEE}"/>
              </a:ext>
            </a:extLst>
          </p:cNvPr>
          <p:cNvSpPr/>
          <p:nvPr/>
        </p:nvSpPr>
        <p:spPr>
          <a:xfrm>
            <a:off x="2465863" y="3072987"/>
            <a:ext cx="7213395" cy="74709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DC7E42C0-8645-D347-9D5F-CD62BA95D70C}"/>
              </a:ext>
            </a:extLst>
          </p:cNvPr>
          <p:cNvSpPr/>
          <p:nvPr/>
        </p:nvSpPr>
        <p:spPr>
          <a:xfrm>
            <a:off x="892487" y="3752108"/>
            <a:ext cx="11056625" cy="26755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t"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derally-certified, NJ-based CDFI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ve the operational and financial capacity </a:t>
            </a:r>
            <a:b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use the guarantee effectively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ve significant experience working with underserved business segments and in communities underserved by other banks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fill out and certify simplified debarment legal questionnair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DFI Loans that are guaranteed must:</a:t>
            </a:r>
          </a:p>
          <a:p>
            <a:pPr marL="742950" lvl="1" indent="-285750">
              <a:spcBef>
                <a:spcPts val="0"/>
              </a:spcBef>
              <a:spcAft>
                <a:spcPts val="600"/>
              </a:spcAft>
              <a:buSzPct val="50000"/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 to an impacted business</a:t>
            </a:r>
          </a:p>
          <a:p>
            <a:pPr marL="742950" lvl="1" indent="-285750">
              <a:spcBef>
                <a:spcPts val="0"/>
              </a:spcBef>
              <a:spcAft>
                <a:spcPts val="600"/>
              </a:spcAft>
              <a:buSzPct val="50000"/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 focused on working capital</a:t>
            </a:r>
          </a:p>
          <a:p>
            <a:pPr marL="742950" lvl="1" indent="-285750">
              <a:spcBef>
                <a:spcPts val="0"/>
              </a:spcBef>
              <a:spcAft>
                <a:spcPts val="600"/>
              </a:spcAft>
              <a:buSzPct val="50000"/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 exceed $75,000</a:t>
            </a:r>
          </a:p>
          <a:p>
            <a:pPr marL="742950" lvl="1" indent="-285750">
              <a:spcBef>
                <a:spcPts val="0"/>
              </a:spcBef>
              <a:spcAft>
                <a:spcPts val="600"/>
              </a:spcAft>
              <a:buSzPct val="50000"/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ve an interest rate of 3.75% or less</a:t>
            </a:r>
          </a:p>
          <a:p>
            <a:pPr marL="742950" lvl="1" indent="-285750">
              <a:spcBef>
                <a:spcPts val="0"/>
              </a:spcBef>
              <a:spcAft>
                <a:spcPts val="600"/>
              </a:spcAft>
              <a:buSzPct val="50000"/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 exceed a term of five years </a:t>
            </a:r>
          </a:p>
          <a:p>
            <a:pPr marL="742950" lvl="1" indent="-285750">
              <a:spcBef>
                <a:spcPts val="0"/>
              </a:spcBef>
              <a:spcAft>
                <a:spcPts val="600"/>
              </a:spcAft>
              <a:buSzPct val="50000"/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vide flexible loan structure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F73B3936-D09C-DD43-824D-6CB1E27000CC}"/>
              </a:ext>
            </a:extLst>
          </p:cNvPr>
          <p:cNvGrpSpPr/>
          <p:nvPr/>
        </p:nvGrpSpPr>
        <p:grpSpPr>
          <a:xfrm>
            <a:off x="160414" y="182073"/>
            <a:ext cx="9886836" cy="954107"/>
            <a:chOff x="185337" y="3209529"/>
            <a:chExt cx="9886836" cy="954107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xmlns="" id="{9F1BCD91-263E-C643-8D34-F5814D1EA6D2}"/>
                </a:ext>
              </a:extLst>
            </p:cNvPr>
            <p:cNvSpPr/>
            <p:nvPr/>
          </p:nvSpPr>
          <p:spPr>
            <a:xfrm>
              <a:off x="950475" y="3209529"/>
              <a:ext cx="9121698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srgbClr val="05597B"/>
                  </a:solidFill>
                  <a:latin typeface="Segoe Pro" panose="020B0502040504020203" pitchFamily="34" charset="0"/>
                </a:rPr>
                <a:t>PROGRAMS TO MOBILIZE CAPITAL TO MICRO-, SMALL, &amp; MEDIUM-SIZED BUSINESSES</a:t>
              </a: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xmlns="" id="{B670B286-5E84-8742-8B2E-4044098467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5337" y="3273193"/>
              <a:ext cx="774338" cy="774338"/>
            </a:xfrm>
            <a:prstGeom prst="rect">
              <a:avLst/>
            </a:prstGeom>
          </p:spPr>
        </p:pic>
      </p:grp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5EE61CF1-FB54-C04B-BD2C-BCB06023E4C1}"/>
              </a:ext>
            </a:extLst>
          </p:cNvPr>
          <p:cNvCxnSpPr/>
          <p:nvPr/>
        </p:nvCxnSpPr>
        <p:spPr>
          <a:xfrm>
            <a:off x="380066" y="1202740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D2DE69E2-2D95-8448-BA76-6E5A8FF17DB7}"/>
              </a:ext>
            </a:extLst>
          </p:cNvPr>
          <p:cNvSpPr/>
          <p:nvPr/>
        </p:nvSpPr>
        <p:spPr>
          <a:xfrm>
            <a:off x="380066" y="3245816"/>
            <a:ext cx="1380982" cy="506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0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ligibility</a:t>
            </a:r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xmlns="" id="{BC3312DE-DE4E-0949-BC71-0E967C1BEC3A}"/>
              </a:ext>
            </a:extLst>
          </p:cNvPr>
          <p:cNvSpPr/>
          <p:nvPr/>
        </p:nvSpPr>
        <p:spPr>
          <a:xfrm>
            <a:off x="1058694" y="1588114"/>
            <a:ext cx="6568740" cy="1686824"/>
          </a:xfrm>
          <a:custGeom>
            <a:avLst/>
            <a:gdLst>
              <a:gd name="connsiteX0" fmla="*/ 0 w 6770922"/>
              <a:gd name="connsiteY0" fmla="*/ 0 h 1344658"/>
              <a:gd name="connsiteX1" fmla="*/ 6098593 w 6770922"/>
              <a:gd name="connsiteY1" fmla="*/ 0 h 1344658"/>
              <a:gd name="connsiteX2" fmla="*/ 6770922 w 6770922"/>
              <a:gd name="connsiteY2" fmla="*/ 672329 h 1344658"/>
              <a:gd name="connsiteX3" fmla="*/ 6098593 w 6770922"/>
              <a:gd name="connsiteY3" fmla="*/ 1344658 h 1344658"/>
              <a:gd name="connsiteX4" fmla="*/ 0 w 6770922"/>
              <a:gd name="connsiteY4" fmla="*/ 1344658 h 1344658"/>
              <a:gd name="connsiteX5" fmla="*/ 0 w 6770922"/>
              <a:gd name="connsiteY5" fmla="*/ 0 h 1344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70922" h="1344658">
                <a:moveTo>
                  <a:pt x="0" y="0"/>
                </a:moveTo>
                <a:lnTo>
                  <a:pt x="6098593" y="0"/>
                </a:lnTo>
                <a:lnTo>
                  <a:pt x="6770922" y="672329"/>
                </a:lnTo>
                <a:lnTo>
                  <a:pt x="6098593" y="1344658"/>
                </a:lnTo>
                <a:lnTo>
                  <a:pt x="0" y="134465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352" tIns="74676" rIns="373502" bIns="74676" numCol="1" spcCol="1270" anchor="ctr" anchorCtr="0">
            <a:noAutofit/>
          </a:bodyPr>
          <a:lstStyle/>
          <a:p>
            <a:pPr defTabSz="1244600">
              <a:lnSpc>
                <a:spcPct val="90000"/>
              </a:lnSpc>
              <a:spcAft>
                <a:spcPct val="35000"/>
              </a:spcAft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CDFI First Loss Reserve Fund </a:t>
            </a:r>
            <a:b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$10M capital reserve fund for first-loss position, up to 50%, on CDFI loans that provide low/no-interest loans to micro and small businesses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xmlns="" id="{C4155D33-2F44-C148-BC43-EACEC9F670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354629"/>
              </p:ext>
            </p:extLst>
          </p:nvPr>
        </p:nvGraphicFramePr>
        <p:xfrm>
          <a:off x="8376826" y="1711801"/>
          <a:ext cx="3117824" cy="118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17824">
                  <a:extLst>
                    <a:ext uri="{9D8B030D-6E8A-4147-A177-3AD203B41FA5}">
                      <a16:colId xmlns:a16="http://schemas.microsoft.com/office/drawing/2014/main" xmlns="" val="22213847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JEDA Program Siz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00830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896112" rtl="0" eaLnBrk="1" latinLnBrk="0" hangingPunct="1"/>
                      <a:r>
                        <a:rPr lang="en-US" sz="2800" b="1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$10M</a:t>
                      </a:r>
                    </a:p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(initial wave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9992162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92096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ADF366C8-01C0-0D42-8333-56776FFEBBEE}"/>
              </a:ext>
            </a:extLst>
          </p:cNvPr>
          <p:cNvSpPr/>
          <p:nvPr/>
        </p:nvSpPr>
        <p:spPr>
          <a:xfrm>
            <a:off x="1559220" y="2969989"/>
            <a:ext cx="7372907" cy="75508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DC7E42C0-8645-D347-9D5F-CD62BA95D70C}"/>
              </a:ext>
            </a:extLst>
          </p:cNvPr>
          <p:cNvSpPr/>
          <p:nvPr/>
        </p:nvSpPr>
        <p:spPr>
          <a:xfrm>
            <a:off x="875571" y="4051830"/>
            <a:ext cx="10197971" cy="241275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t"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work through a Premier Lender bank </a:t>
            </a:r>
            <a:b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 Premier CDFI 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$5M or less in revenu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ysical commercial location in NJ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t least 1 year in existenc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l industries eligibl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show negative impact of emergency (e.g., closure, reduced hours, 20% revenue drop, supply chain disruption, etc.)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fill out and certify simplified debarment legal questionnair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x Clearance; Department of Labor good standing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-profits are eligib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B670B286-5E84-8742-8B2E-4044098467B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414" y="245737"/>
            <a:ext cx="774338" cy="77433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D3DBED9D-E73B-DD40-8E7A-A9FDAC4B2534}"/>
              </a:ext>
            </a:extLst>
          </p:cNvPr>
          <p:cNvCxnSpPr/>
          <p:nvPr/>
        </p:nvCxnSpPr>
        <p:spPr>
          <a:xfrm>
            <a:off x="380066" y="1202740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ADC034A5-9A5A-AF4A-AAA6-6FC51DEEAEF6}"/>
              </a:ext>
            </a:extLst>
          </p:cNvPr>
          <p:cNvSpPr/>
          <p:nvPr/>
        </p:nvSpPr>
        <p:spPr>
          <a:xfrm>
            <a:off x="925552" y="182073"/>
            <a:ext cx="912169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05597B"/>
                </a:solidFill>
                <a:latin typeface="Segoe Pro" panose="020B0502040504020203" pitchFamily="34" charset="0"/>
              </a:rPr>
              <a:t>PROGRAMS TO MOBILIZE CAPITAL TO MICRO-, SMALL, &amp; MEDIUM-SIZED BUSINESS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F3543AE-444E-1947-B1CE-1621FA145DD2}"/>
              </a:ext>
            </a:extLst>
          </p:cNvPr>
          <p:cNvSpPr/>
          <p:nvPr/>
        </p:nvSpPr>
        <p:spPr>
          <a:xfrm>
            <a:off x="380066" y="3446536"/>
            <a:ext cx="2139614" cy="506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0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siness Eligibility</a:t>
            </a:r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xmlns="" id="{B53B6C1B-2452-444E-A3EB-7D9588BB0EB0}"/>
              </a:ext>
            </a:extLst>
          </p:cNvPr>
          <p:cNvSpPr/>
          <p:nvPr/>
        </p:nvSpPr>
        <p:spPr>
          <a:xfrm>
            <a:off x="1058694" y="1543509"/>
            <a:ext cx="6568740" cy="1858421"/>
          </a:xfrm>
          <a:custGeom>
            <a:avLst/>
            <a:gdLst>
              <a:gd name="connsiteX0" fmla="*/ 0 w 6770922"/>
              <a:gd name="connsiteY0" fmla="*/ 0 h 1344658"/>
              <a:gd name="connsiteX1" fmla="*/ 6098593 w 6770922"/>
              <a:gd name="connsiteY1" fmla="*/ 0 h 1344658"/>
              <a:gd name="connsiteX2" fmla="*/ 6770922 w 6770922"/>
              <a:gd name="connsiteY2" fmla="*/ 672329 h 1344658"/>
              <a:gd name="connsiteX3" fmla="*/ 6098593 w 6770922"/>
              <a:gd name="connsiteY3" fmla="*/ 1344658 h 1344658"/>
              <a:gd name="connsiteX4" fmla="*/ 0 w 6770922"/>
              <a:gd name="connsiteY4" fmla="*/ 1344658 h 1344658"/>
              <a:gd name="connsiteX5" fmla="*/ 0 w 6770922"/>
              <a:gd name="connsiteY5" fmla="*/ 0 h 1344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70922" h="1344658">
                <a:moveTo>
                  <a:pt x="0" y="0"/>
                </a:moveTo>
                <a:lnTo>
                  <a:pt x="6098593" y="0"/>
                </a:lnTo>
                <a:lnTo>
                  <a:pt x="6770922" y="672329"/>
                </a:lnTo>
                <a:lnTo>
                  <a:pt x="6098593" y="1344658"/>
                </a:lnTo>
                <a:lnTo>
                  <a:pt x="0" y="134465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352" tIns="74676" rIns="373502" bIns="74676" numCol="1" spcCol="1270" anchor="ctr" anchorCtr="0">
            <a:noAutofit/>
          </a:bodyPr>
          <a:lstStyle/>
          <a:p>
            <a:pPr defTabSz="1244600">
              <a:lnSpc>
                <a:spcPct val="90000"/>
              </a:lnSpc>
              <a:spcAft>
                <a:spcPct val="35000"/>
              </a:spcAft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Emergency Assistance Guarantee </a:t>
            </a:r>
            <a:b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$100,000 Maximum guarantee, 50% guarantee of working capital loans, take first loss position; no fees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xmlns="" id="{A3CC25DC-CD54-3440-813D-C173F0E019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0091531"/>
              </p:ext>
            </p:extLst>
          </p:nvPr>
        </p:nvGraphicFramePr>
        <p:xfrm>
          <a:off x="8376826" y="1711801"/>
          <a:ext cx="3117824" cy="118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17824">
                  <a:extLst>
                    <a:ext uri="{9D8B030D-6E8A-4147-A177-3AD203B41FA5}">
                      <a16:colId xmlns:a16="http://schemas.microsoft.com/office/drawing/2014/main" xmlns="" val="22213847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JEDA Program Siz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00830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800" b="1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$10M</a:t>
                      </a:r>
                    </a:p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(initial wave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9992162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86578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ADF366C8-01C0-0D42-8333-56776FFEBBEE}"/>
              </a:ext>
            </a:extLst>
          </p:cNvPr>
          <p:cNvSpPr/>
          <p:nvPr/>
        </p:nvSpPr>
        <p:spPr>
          <a:xfrm>
            <a:off x="5341433" y="3699682"/>
            <a:ext cx="6724187" cy="157954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DC7E42C0-8645-D347-9D5F-CD62BA95D70C}"/>
              </a:ext>
            </a:extLst>
          </p:cNvPr>
          <p:cNvSpPr/>
          <p:nvPr/>
        </p:nvSpPr>
        <p:spPr>
          <a:xfrm>
            <a:off x="875571" y="4060429"/>
            <a:ext cx="10526138" cy="228445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t"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be NJ-based start-up company (registered to do business, C-suite in the State)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nder $5M in revenue; under 25 peopl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vestors have already provided funding in the form of a convertible note, safe or equity interest.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vestor does not need to be NJ-based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ign with the Governor’s Economic Plan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fill out and certify simplified debarment legal questionnair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x Clearance; Department of Labor </a:t>
            </a:r>
            <a:b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ood standing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nimum of 50% of employees in NJ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B670B286-5E84-8742-8B2E-4044098467B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414" y="245737"/>
            <a:ext cx="774338" cy="77433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3234DA63-187F-E647-B5D7-4348B524D16C}"/>
              </a:ext>
            </a:extLst>
          </p:cNvPr>
          <p:cNvCxnSpPr/>
          <p:nvPr/>
        </p:nvCxnSpPr>
        <p:spPr>
          <a:xfrm>
            <a:off x="380066" y="1202740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8E636E77-988F-C545-95F4-9B97FA7B3C3D}"/>
              </a:ext>
            </a:extLst>
          </p:cNvPr>
          <p:cNvSpPr/>
          <p:nvPr/>
        </p:nvSpPr>
        <p:spPr>
          <a:xfrm>
            <a:off x="925552" y="182073"/>
            <a:ext cx="912169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05597B"/>
                </a:solidFill>
                <a:latin typeface="Segoe Pro" panose="020B0502040504020203" pitchFamily="34" charset="0"/>
              </a:rPr>
              <a:t>PROGRAMS TO MOBILIZE CAPITAL TO MICRO-, SMALL, &amp; MEDIUM-SIZED BUSINESS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72E95528-9D26-8A47-A051-CC6A0A47259B}"/>
              </a:ext>
            </a:extLst>
          </p:cNvPr>
          <p:cNvSpPr/>
          <p:nvPr/>
        </p:nvSpPr>
        <p:spPr>
          <a:xfrm>
            <a:off x="380066" y="3341647"/>
            <a:ext cx="1380982" cy="506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0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ligibility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xmlns="" id="{CCA9DADD-E912-9B4E-9614-0ED1FE75DE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0020242"/>
              </p:ext>
            </p:extLst>
          </p:nvPr>
        </p:nvGraphicFramePr>
        <p:xfrm>
          <a:off x="8376826" y="1711801"/>
          <a:ext cx="3117824" cy="118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17824">
                  <a:extLst>
                    <a:ext uri="{9D8B030D-6E8A-4147-A177-3AD203B41FA5}">
                      <a16:colId xmlns:a16="http://schemas.microsoft.com/office/drawing/2014/main" xmlns="" val="22213847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JEDA Program Siz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00830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896112" rtl="0" eaLnBrk="1" latinLnBrk="0" hangingPunct="1"/>
                      <a:r>
                        <a:rPr lang="en-US" sz="2800" b="1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$5M</a:t>
                      </a:r>
                    </a:p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(initial wave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999216259"/>
                  </a:ext>
                </a:extLst>
              </a:tr>
            </a:tbl>
          </a:graphicData>
        </a:graphic>
      </p:graphicFrame>
      <p:sp>
        <p:nvSpPr>
          <p:cNvPr id="20" name="Freeform 19">
            <a:extLst>
              <a:ext uri="{FF2B5EF4-FFF2-40B4-BE49-F238E27FC236}">
                <a16:creationId xmlns:a16="http://schemas.microsoft.com/office/drawing/2014/main" xmlns="" id="{856C16C0-34F5-824D-9871-16357DDF2C44}"/>
              </a:ext>
            </a:extLst>
          </p:cNvPr>
          <p:cNvSpPr/>
          <p:nvPr/>
        </p:nvSpPr>
        <p:spPr>
          <a:xfrm>
            <a:off x="1058694" y="1588114"/>
            <a:ext cx="6568740" cy="1344654"/>
          </a:xfrm>
          <a:custGeom>
            <a:avLst/>
            <a:gdLst>
              <a:gd name="connsiteX0" fmla="*/ 0 w 6770922"/>
              <a:gd name="connsiteY0" fmla="*/ 0 h 1344658"/>
              <a:gd name="connsiteX1" fmla="*/ 6098593 w 6770922"/>
              <a:gd name="connsiteY1" fmla="*/ 0 h 1344658"/>
              <a:gd name="connsiteX2" fmla="*/ 6770922 w 6770922"/>
              <a:gd name="connsiteY2" fmla="*/ 672329 h 1344658"/>
              <a:gd name="connsiteX3" fmla="*/ 6098593 w 6770922"/>
              <a:gd name="connsiteY3" fmla="*/ 1344658 h 1344658"/>
              <a:gd name="connsiteX4" fmla="*/ 0 w 6770922"/>
              <a:gd name="connsiteY4" fmla="*/ 1344658 h 1344658"/>
              <a:gd name="connsiteX5" fmla="*/ 0 w 6770922"/>
              <a:gd name="connsiteY5" fmla="*/ 0 h 1344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70922" h="1344658">
                <a:moveTo>
                  <a:pt x="0" y="0"/>
                </a:moveTo>
                <a:lnTo>
                  <a:pt x="6098593" y="0"/>
                </a:lnTo>
                <a:lnTo>
                  <a:pt x="6770922" y="672329"/>
                </a:lnTo>
                <a:lnTo>
                  <a:pt x="6098593" y="1344658"/>
                </a:lnTo>
                <a:lnTo>
                  <a:pt x="0" y="134465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352" tIns="74676" rIns="373502" bIns="74676" numCol="1" spcCol="1270" anchor="ctr" anchorCtr="0">
            <a:noAutofit/>
          </a:bodyPr>
          <a:lstStyle/>
          <a:p>
            <a:pPr lvl="0" defTabSz="1244600">
              <a:lnSpc>
                <a:spcPct val="90000"/>
              </a:lnSpc>
              <a:spcAft>
                <a:spcPct val="35000"/>
              </a:spcAft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NJ Entrepreneur Support Program </a:t>
            </a:r>
            <a:b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Provide 80% loan guarantees for working </a:t>
            </a:r>
            <a:b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capital loans to start-up entrepreneurs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1019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5BB59ED-AF15-4A38-8FC9-22F0D76A83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030" y="276293"/>
            <a:ext cx="9223658" cy="1107996"/>
          </a:xfrm>
        </p:spPr>
        <p:txBody>
          <a:bodyPr/>
          <a:lstStyle/>
          <a:p>
            <a:r>
              <a:rPr lang="en-US" sz="3600" dirty="0">
                <a:solidFill>
                  <a:schemeClr val="accent2"/>
                </a:solidFill>
              </a:rPr>
              <a:t>We have developed our economic stability approach around three core princip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B7F07BCB-C997-471E-A275-DEE81A3554A9}"/>
              </a:ext>
            </a:extLst>
          </p:cNvPr>
          <p:cNvSpPr txBox="1"/>
          <p:nvPr/>
        </p:nvSpPr>
        <p:spPr>
          <a:xfrm>
            <a:off x="465853" y="1792411"/>
            <a:ext cx="11231775" cy="39190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Bef>
                <a:spcPts val="1800"/>
              </a:spcBef>
              <a:buClr>
                <a:schemeClr val="accent2"/>
              </a:buClr>
              <a:buFont typeface="+mj-lt"/>
              <a:buAutoNum type="arabicPeriod"/>
            </a:pPr>
            <a:r>
              <a:rPr lang="en-US" sz="2400" b="1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t funding into the market as soon as possible</a:t>
            </a:r>
          </a:p>
          <a:p>
            <a:pPr marL="800100" lvl="1" indent="-342900">
              <a:spcBef>
                <a:spcPts val="1000"/>
              </a:spcBef>
              <a:buClr>
                <a:schemeClr val="accent2"/>
              </a:buClr>
              <a:buFont typeface=".Lucida Grande UI Regular"/>
              <a:buChar char="►"/>
            </a:pP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Where possible, adjust existing NJEDA programs to address crisis needs</a:t>
            </a:r>
          </a:p>
          <a:p>
            <a:pPr marL="800100" lvl="1" indent="-342900">
              <a:spcBef>
                <a:spcPts val="1000"/>
              </a:spcBef>
              <a:buClr>
                <a:schemeClr val="accent2"/>
              </a:buClr>
              <a:buFont typeface=".Lucida Grande UI Regular"/>
              <a:buChar char="►"/>
            </a:pP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Utilize multiple channels / partners to maximize marketing of programs and minimize processing capacity constraints </a:t>
            </a:r>
          </a:p>
          <a:p>
            <a:pPr marL="457200" indent="-457200">
              <a:spcBef>
                <a:spcPts val="2400"/>
              </a:spcBef>
              <a:buClr>
                <a:schemeClr val="accent2"/>
              </a:buClr>
              <a:buFont typeface="+mj-lt"/>
              <a:buAutoNum type="arabicPeriod"/>
            </a:pPr>
            <a:r>
              <a:rPr lang="en-US" sz="2400" b="1" dirty="0">
                <a:solidFill>
                  <a:srgbClr val="00597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verage private, federal, and philanthropic capital 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where possible to scale impact</a:t>
            </a:r>
            <a:endParaRPr lang="en-US" sz="2400" dirty="0">
              <a:solidFill>
                <a:srgbClr val="00597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indent="-457200">
              <a:spcBef>
                <a:spcPts val="2400"/>
              </a:spcBef>
              <a:buClr>
                <a:schemeClr val="accent2"/>
              </a:buClr>
              <a:buFont typeface="+mj-lt"/>
              <a:buAutoNum type="arabicPeriod"/>
            </a:pPr>
            <a:r>
              <a:rPr lang="en-US" sz="2400" b="1" dirty="0">
                <a:solidFill>
                  <a:srgbClr val="00597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vide a suite of compatible offerings to help address varied marketplace needs 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(e.g., grants, no-cost loans, low-cost loans, loans through intermediaries, technical assistance)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6E723368-1267-6A44-B24A-F405965DBDBA}"/>
              </a:ext>
            </a:extLst>
          </p:cNvPr>
          <p:cNvCxnSpPr/>
          <p:nvPr/>
        </p:nvCxnSpPr>
        <p:spPr>
          <a:xfrm>
            <a:off x="407030" y="3716651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07C6FBD1-82FC-8A4D-9EB6-D50C3E74B1B9}"/>
              </a:ext>
            </a:extLst>
          </p:cNvPr>
          <p:cNvCxnSpPr/>
          <p:nvPr/>
        </p:nvCxnSpPr>
        <p:spPr>
          <a:xfrm>
            <a:off x="407030" y="1698279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A5AC347F-1778-7048-B361-5FDBD82025C5}"/>
              </a:ext>
            </a:extLst>
          </p:cNvPr>
          <p:cNvCxnSpPr/>
          <p:nvPr/>
        </p:nvCxnSpPr>
        <p:spPr>
          <a:xfrm>
            <a:off x="407030" y="4452638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26A6913F-3C34-7446-BBBA-F6BC444C5B61}"/>
              </a:ext>
            </a:extLst>
          </p:cNvPr>
          <p:cNvCxnSpPr/>
          <p:nvPr/>
        </p:nvCxnSpPr>
        <p:spPr>
          <a:xfrm>
            <a:off x="407030" y="5768479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69065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ADF366C8-01C0-0D42-8333-56776FFEBBEE}"/>
              </a:ext>
            </a:extLst>
          </p:cNvPr>
          <p:cNvSpPr/>
          <p:nvPr/>
        </p:nvSpPr>
        <p:spPr>
          <a:xfrm>
            <a:off x="2623424" y="2727844"/>
            <a:ext cx="6791093" cy="129226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DC7E42C0-8645-D347-9D5F-CD62BA95D70C}"/>
              </a:ext>
            </a:extLst>
          </p:cNvPr>
          <p:cNvSpPr/>
          <p:nvPr/>
        </p:nvSpPr>
        <p:spPr>
          <a:xfrm>
            <a:off x="685999" y="4821791"/>
            <a:ext cx="10286800" cy="139388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t"/>
          <a:lstStyle/>
          <a:p>
            <a:pPr marL="742950" lvl="1" indent="-285750"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b="1" u="sng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African American Chamber of Commerce </a:t>
            </a:r>
            <a:r>
              <a:rPr lang="en-US" sz="1800" b="1" u="sng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/>
            </a:r>
            <a:br>
              <a:rPr lang="en-US" sz="1800" b="1" u="sng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</a:br>
            <a:r>
              <a:rPr lang="en-US" sz="1800" b="1" u="sng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of New Jersey (AACCNJ)</a:t>
            </a:r>
            <a:endParaRPr lang="en-US" sz="1800" b="1" dirty="0">
              <a:solidFill>
                <a:schemeClr val="accent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b="1" u="sng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New Jersey State Veterans Chamber of Commerce</a:t>
            </a:r>
            <a:endParaRPr lang="en-US" sz="1800" b="1" dirty="0">
              <a:solidFill>
                <a:schemeClr val="accent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800" b="1" u="sng" dirty="0">
              <a:solidFill>
                <a:schemeClr val="accent4"/>
              </a:solidFill>
              <a:latin typeface="Calibri" panose="020F0502020204030204" pitchFamily="34" charset="0"/>
              <a:cs typeface="Calibri" panose="020F0502020204030204" pitchFamily="34" charset="0"/>
              <a:hlinkClick r:id="rId2">
                <a:extLst>
                  <a:ext uri="{A12FA001-AC4F-418D-AE19-62706E023703}">
                    <ahyp:hlinkClr xmlns:ahyp="http://schemas.microsoft.com/office/drawing/2018/hyperlinkcolor" xmlns="" val="tx"/>
                  </a:ext>
                </a:extLst>
              </a:hlinkClick>
            </a:endParaRPr>
          </a:p>
          <a:p>
            <a:pPr marL="742950" lvl="1" indent="-285750"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b="1" u="sng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Rising Tide Capital</a:t>
            </a:r>
            <a:endParaRPr lang="en-US" sz="1800" b="1" dirty="0">
              <a:solidFill>
                <a:schemeClr val="accent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b="1" u="sng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Statewide Hispanic Chamber of Commerce </a:t>
            </a:r>
            <a:r>
              <a:rPr lang="en-US" sz="1800" b="1" u="sng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/>
            </a:r>
            <a:br>
              <a:rPr lang="en-US" sz="1800" b="1" u="sng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</a:br>
            <a:r>
              <a:rPr lang="en-US" sz="1800" b="1" u="sng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of New Jersey (SHCCNJ)</a:t>
            </a:r>
            <a:r>
              <a:rPr lang="en-US" sz="1800" b="1" u="sng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1800" b="1" u="sng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1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438FAD86-B080-8F4B-9472-E69BC6F3D085}"/>
              </a:ext>
            </a:extLst>
          </p:cNvPr>
          <p:cNvGrpSpPr/>
          <p:nvPr/>
        </p:nvGrpSpPr>
        <p:grpSpPr>
          <a:xfrm>
            <a:off x="90634" y="133189"/>
            <a:ext cx="9477112" cy="1030644"/>
            <a:chOff x="12580" y="4774322"/>
            <a:chExt cx="9477112" cy="1030644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xmlns="" id="{899F8898-AD99-7848-BBBC-A365E907BD9E}"/>
                </a:ext>
              </a:extLst>
            </p:cNvPr>
            <p:cNvSpPr/>
            <p:nvPr/>
          </p:nvSpPr>
          <p:spPr>
            <a:xfrm>
              <a:off x="880951" y="4994517"/>
              <a:ext cx="8608741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srgbClr val="05597B"/>
                  </a:solidFill>
                  <a:latin typeface="Segoe Pro" panose="020B0502040504020203" pitchFamily="34" charset="0"/>
                </a:rPr>
                <a:t>NJ TECHNICAL ASSISTANCE SUPPORT</a:t>
              </a: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xmlns="" id="{EF27F48B-CB7B-2648-90B6-078A0CADFE8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580" y="4774322"/>
              <a:ext cx="1030644" cy="1030644"/>
            </a:xfrm>
            <a:prstGeom prst="rect">
              <a:avLst/>
            </a:prstGeom>
          </p:spPr>
        </p:pic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56A35372-C6AB-7447-8BD8-714134662A5B}"/>
              </a:ext>
            </a:extLst>
          </p:cNvPr>
          <p:cNvCxnSpPr/>
          <p:nvPr/>
        </p:nvCxnSpPr>
        <p:spPr>
          <a:xfrm>
            <a:off x="380066" y="1202740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B2D5438E-FF65-AF44-AABB-71F554983993}"/>
              </a:ext>
            </a:extLst>
          </p:cNvPr>
          <p:cNvSpPr/>
          <p:nvPr/>
        </p:nvSpPr>
        <p:spPr>
          <a:xfrm>
            <a:off x="1058694" y="3277505"/>
            <a:ext cx="731813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 assistance includes, but is not limited to, preparing financial information, packaging application documentation, and completing and submitting the on-line or paper-based application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xmlns="" id="{F639C4B3-D281-FF47-8695-73E765D3E5DC}"/>
              </a:ext>
            </a:extLst>
          </p:cNvPr>
          <p:cNvSpPr/>
          <p:nvPr/>
        </p:nvSpPr>
        <p:spPr>
          <a:xfrm>
            <a:off x="1058694" y="1567794"/>
            <a:ext cx="6770922" cy="1344658"/>
          </a:xfrm>
          <a:custGeom>
            <a:avLst/>
            <a:gdLst>
              <a:gd name="connsiteX0" fmla="*/ 0 w 6770922"/>
              <a:gd name="connsiteY0" fmla="*/ 0 h 1344658"/>
              <a:gd name="connsiteX1" fmla="*/ 6098593 w 6770922"/>
              <a:gd name="connsiteY1" fmla="*/ 0 h 1344658"/>
              <a:gd name="connsiteX2" fmla="*/ 6770922 w 6770922"/>
              <a:gd name="connsiteY2" fmla="*/ 672329 h 1344658"/>
              <a:gd name="connsiteX3" fmla="*/ 6098593 w 6770922"/>
              <a:gd name="connsiteY3" fmla="*/ 1344658 h 1344658"/>
              <a:gd name="connsiteX4" fmla="*/ 0 w 6770922"/>
              <a:gd name="connsiteY4" fmla="*/ 1344658 h 1344658"/>
              <a:gd name="connsiteX5" fmla="*/ 0 w 6770922"/>
              <a:gd name="connsiteY5" fmla="*/ 0 h 1344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70922" h="1344658">
                <a:moveTo>
                  <a:pt x="0" y="0"/>
                </a:moveTo>
                <a:lnTo>
                  <a:pt x="6098593" y="0"/>
                </a:lnTo>
                <a:lnTo>
                  <a:pt x="6770922" y="672329"/>
                </a:lnTo>
                <a:lnTo>
                  <a:pt x="6098593" y="1344658"/>
                </a:lnTo>
                <a:lnTo>
                  <a:pt x="0" y="134465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352" tIns="74676" rIns="373502" bIns="74676" numCol="1" spcCol="1270" anchor="ctr" anchorCtr="0">
            <a:noAutofit/>
          </a:bodyPr>
          <a:lstStyle/>
          <a:p>
            <a:pPr lvl="0" defTabSz="1244600">
              <a:lnSpc>
                <a:spcPct val="90000"/>
              </a:lnSpc>
              <a:spcAft>
                <a:spcPct val="35000"/>
              </a:spcAft>
            </a:pPr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Support for organizations providing technical 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assistance to COVID-19 Impacted Small Businesses  Applying  for SBA Funding Programs</a:t>
            </a: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xmlns="" id="{03E87A30-78B7-8143-9808-F33101324F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5410366"/>
              </p:ext>
            </p:extLst>
          </p:nvPr>
        </p:nvGraphicFramePr>
        <p:xfrm>
          <a:off x="8376826" y="1711801"/>
          <a:ext cx="3117824" cy="118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17824">
                  <a:extLst>
                    <a:ext uri="{9D8B030D-6E8A-4147-A177-3AD203B41FA5}">
                      <a16:colId xmlns:a16="http://schemas.microsoft.com/office/drawing/2014/main" xmlns="" val="22213847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JEDA Program Siz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00830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896112" rtl="0" eaLnBrk="1" latinLnBrk="0" hangingPunct="1"/>
                      <a:r>
                        <a:rPr lang="en-US" sz="2800" b="1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$150K</a:t>
                      </a:r>
                    </a:p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(initial wave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9992162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33576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DC7E42C0-8645-D347-9D5F-CD62BA95D70C}"/>
              </a:ext>
            </a:extLst>
          </p:cNvPr>
          <p:cNvSpPr/>
          <p:nvPr/>
        </p:nvSpPr>
        <p:spPr>
          <a:xfrm>
            <a:off x="1037699" y="4412876"/>
            <a:ext cx="9521444" cy="195250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t"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yment Moratoria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an Maturity Extensions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bordinations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e Waiver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E569FA5B-B4F2-2E4D-974D-21A4561EC6B5}"/>
              </a:ext>
            </a:extLst>
          </p:cNvPr>
          <p:cNvGrpSpPr/>
          <p:nvPr/>
        </p:nvGrpSpPr>
        <p:grpSpPr>
          <a:xfrm>
            <a:off x="205322" y="201547"/>
            <a:ext cx="11322722" cy="774338"/>
            <a:chOff x="185337" y="5653545"/>
            <a:chExt cx="11322722" cy="774338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xmlns="" id="{D8A2E082-CE38-554C-9493-DAA4F40A843D}"/>
                </a:ext>
              </a:extLst>
            </p:cNvPr>
            <p:cNvSpPr/>
            <p:nvPr/>
          </p:nvSpPr>
          <p:spPr>
            <a:xfrm>
              <a:off x="891246" y="5808093"/>
              <a:ext cx="10616813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srgbClr val="05597B"/>
                  </a:solidFill>
                  <a:latin typeface="Segoe Pro" panose="020B0502040504020203" pitchFamily="34" charset="0"/>
                </a:rPr>
                <a:t>CREDIT FLEXIBILITY TO SUPPORT BUSINESSES</a:t>
              </a: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xmlns="" id="{75EB730E-C760-3A4A-9491-2891069F4A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5337" y="5653545"/>
              <a:ext cx="774338" cy="774338"/>
            </a:xfrm>
            <a:prstGeom prst="rect">
              <a:avLst/>
            </a:prstGeom>
          </p:spPr>
        </p:pic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C631696A-49B2-3E47-A05B-D8876C062CBA}"/>
              </a:ext>
            </a:extLst>
          </p:cNvPr>
          <p:cNvSpPr/>
          <p:nvPr/>
        </p:nvSpPr>
        <p:spPr>
          <a:xfrm>
            <a:off x="2260528" y="3735793"/>
            <a:ext cx="1007302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64FA0D1C-32AE-854E-BAD8-4B3E0D1670BC}"/>
              </a:ext>
            </a:extLst>
          </p:cNvPr>
          <p:cNvCxnSpPr/>
          <p:nvPr/>
        </p:nvCxnSpPr>
        <p:spPr>
          <a:xfrm>
            <a:off x="380066" y="1202740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8AE68F05-F2E0-8B45-A60E-6D727CB65D97}"/>
              </a:ext>
            </a:extLst>
          </p:cNvPr>
          <p:cNvSpPr/>
          <p:nvPr/>
        </p:nvSpPr>
        <p:spPr>
          <a:xfrm>
            <a:off x="979659" y="3227961"/>
            <a:ext cx="719988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anded delegations to provide quick cash flow relief and to facilitate business access to funding for working capital to continue operations and employment in New Jersey through:</a:t>
            </a:r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xmlns="" id="{9E7583F9-AA21-A44A-87AE-EE10732E9B13}"/>
              </a:ext>
            </a:extLst>
          </p:cNvPr>
          <p:cNvSpPr/>
          <p:nvPr/>
        </p:nvSpPr>
        <p:spPr>
          <a:xfrm>
            <a:off x="979659" y="1526165"/>
            <a:ext cx="8425597" cy="1532509"/>
          </a:xfrm>
          <a:custGeom>
            <a:avLst/>
            <a:gdLst>
              <a:gd name="connsiteX0" fmla="*/ 0 w 5906976"/>
              <a:gd name="connsiteY0" fmla="*/ 0 h 1389416"/>
              <a:gd name="connsiteX1" fmla="*/ 5559622 w 5906976"/>
              <a:gd name="connsiteY1" fmla="*/ 0 h 1389416"/>
              <a:gd name="connsiteX2" fmla="*/ 5906976 w 5906976"/>
              <a:gd name="connsiteY2" fmla="*/ 694708 h 1389416"/>
              <a:gd name="connsiteX3" fmla="*/ 5559622 w 5906976"/>
              <a:gd name="connsiteY3" fmla="*/ 1389416 h 1389416"/>
              <a:gd name="connsiteX4" fmla="*/ 0 w 5906976"/>
              <a:gd name="connsiteY4" fmla="*/ 1389416 h 1389416"/>
              <a:gd name="connsiteX5" fmla="*/ 0 w 5906976"/>
              <a:gd name="connsiteY5" fmla="*/ 0 h 13894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06976" h="1389416">
                <a:moveTo>
                  <a:pt x="0" y="0"/>
                </a:moveTo>
                <a:lnTo>
                  <a:pt x="5559622" y="0"/>
                </a:lnTo>
                <a:lnTo>
                  <a:pt x="5906976" y="694708"/>
                </a:lnTo>
                <a:lnTo>
                  <a:pt x="5559622" y="1389416"/>
                </a:lnTo>
                <a:lnTo>
                  <a:pt x="0" y="138941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08385" tIns="48260" rIns="1007217" bIns="48260" numCol="1" spcCol="1270" anchor="ctr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800" b="1" kern="1200" dirty="0">
                <a:latin typeface="Calibri" panose="020F0502020204030204" pitchFamily="34" charset="0"/>
                <a:cs typeface="Calibri" panose="020F0502020204030204" pitchFamily="34" charset="0"/>
              </a:rPr>
              <a:t>Ability to provide flexible terms to portfolio </a:t>
            </a:r>
            <a:br>
              <a:rPr lang="en-US" sz="2800" b="1" kern="12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800" b="1" kern="1200" dirty="0">
                <a:latin typeface="Calibri" panose="020F0502020204030204" pitchFamily="34" charset="0"/>
                <a:cs typeface="Calibri" panose="020F0502020204030204" pitchFamily="34" charset="0"/>
              </a:rPr>
              <a:t>customers impacted by COVID 19</a:t>
            </a:r>
          </a:p>
        </p:txBody>
      </p:sp>
    </p:spTree>
    <p:extLst>
      <p:ext uri="{BB962C8B-B14F-4D97-AF65-F5344CB8AC3E}">
        <p14:creationId xmlns:p14="http://schemas.microsoft.com/office/powerpoint/2010/main" val="220567610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1AC8FAB-02E5-1145-95A0-307089C654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9161" y="195571"/>
            <a:ext cx="11211490" cy="553998"/>
          </a:xfrm>
        </p:spPr>
        <p:txBody>
          <a:bodyPr/>
          <a:lstStyle/>
          <a:p>
            <a:r>
              <a:rPr lang="en-US" sz="3600" dirty="0">
                <a:solidFill>
                  <a:srgbClr val="83BD40"/>
                </a:solidFill>
                <a:latin typeface="Segoe Pro" panose="020B0502040504020203" pitchFamily="34" charset="0"/>
              </a:rPr>
              <a:t>Businesses Served</a:t>
            </a:r>
            <a:endParaRPr lang="en-US" sz="3600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xmlns="" id="{7B72F09E-DAA6-D542-8D36-C4676B73F41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39161" y="1043042"/>
          <a:ext cx="11070789" cy="4704421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3690263">
                  <a:extLst>
                    <a:ext uri="{9D8B030D-6E8A-4147-A177-3AD203B41FA5}">
                      <a16:colId xmlns:a16="http://schemas.microsoft.com/office/drawing/2014/main" xmlns="" val="3507659146"/>
                    </a:ext>
                  </a:extLst>
                </a:gridCol>
                <a:gridCol w="3690263">
                  <a:extLst>
                    <a:ext uri="{9D8B030D-6E8A-4147-A177-3AD203B41FA5}">
                      <a16:colId xmlns:a16="http://schemas.microsoft.com/office/drawing/2014/main" xmlns="" val="360186695"/>
                    </a:ext>
                  </a:extLst>
                </a:gridCol>
                <a:gridCol w="3690263">
                  <a:extLst>
                    <a:ext uri="{9D8B030D-6E8A-4147-A177-3AD203B41FA5}">
                      <a16:colId xmlns:a16="http://schemas.microsoft.com/office/drawing/2014/main" xmlns="" val="1126409827"/>
                    </a:ext>
                  </a:extLst>
                </a:gridCol>
              </a:tblGrid>
              <a:tr h="863941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None/>
                        <a:tabLst/>
                        <a:defRPr/>
                      </a:pPr>
                      <a:r>
                        <a:rPr lang="en-US" sz="2400" dirty="0"/>
                        <a:t>Programs for Micro- Businesses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None/>
                        <a:tabLst/>
                        <a:defRPr/>
                      </a:pPr>
                      <a:r>
                        <a:rPr lang="en-US" sz="2400" dirty="0"/>
                        <a:t>Programs for Small Businesse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None/>
                        <a:tabLst/>
                        <a:defRPr/>
                      </a:pPr>
                      <a:r>
                        <a:rPr lang="en-US" sz="2400" dirty="0"/>
                        <a:t>Programs for Medium Businesse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65203839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MALL BUSINESS EMERGENCY ASSISTANCE GRANT PROGRAM</a:t>
                      </a:r>
                      <a:endParaRPr lang="en-US" sz="1600" b="0" i="0" dirty="0">
                        <a:solidFill>
                          <a:srgbClr val="05597B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MALL BUSINESS EMERGENCY ASSISTANCE LOAN PROGRAM</a:t>
                      </a:r>
                      <a:endParaRPr lang="en-US" sz="1600" b="0" i="0" dirty="0">
                        <a:solidFill>
                          <a:srgbClr val="05597B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MERGENCY ASSISTANCE </a:t>
                      </a:r>
                      <a:b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UARANTEE PROGRAM</a:t>
                      </a:r>
                      <a:endParaRPr lang="en-US" sz="16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894937417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DFI FIRST LOSS </a:t>
                      </a:r>
                      <a:b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SERVE FUND</a:t>
                      </a:r>
                      <a:endParaRPr lang="en-US" sz="16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MERGENCY ASSISTANCE </a:t>
                      </a:r>
                      <a:b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UARANTEE PROGRAM</a:t>
                      </a:r>
                      <a:endParaRPr lang="en-US" sz="16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REDIT FLEXIBILITY TO </a:t>
                      </a:r>
                      <a:b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PPORT BUSINESSES</a:t>
                      </a:r>
                      <a:endParaRPr lang="en-US" sz="1600" b="0" i="0" dirty="0">
                        <a:solidFill>
                          <a:srgbClr val="05597B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20165635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MERGENCY ASSISTANCE </a:t>
                      </a:r>
                      <a:b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UARANTEE PROGRAM</a:t>
                      </a:r>
                      <a:endParaRPr lang="en-US" sz="16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J ENTREPRENEUR</a:t>
                      </a:r>
                      <a:b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PPORT PROGRAM</a:t>
                      </a:r>
                      <a:endParaRPr lang="en-US" sz="16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MALL BUSINESS EMERGENCY ASSISTANCE LOAN PROGRAM</a:t>
                      </a:r>
                      <a:endParaRPr lang="en-US" sz="1600" b="0" i="0" dirty="0">
                        <a:solidFill>
                          <a:srgbClr val="05597B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176540182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J ENTREPRENEUR </a:t>
                      </a:r>
                      <a:b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PPORT PROGRAM</a:t>
                      </a:r>
                      <a:endParaRPr lang="en-US" sz="16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J TECHNICAL ASSISTANCE </a:t>
                      </a:r>
                      <a:br>
                        <a:rPr lang="en-US" sz="1600" b="0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PPORT 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Clr>
                          <a:schemeClr val="accent2"/>
                        </a:buClr>
                        <a:buFont typeface=".Lucida Grande UI Regular"/>
                        <a:buChar char="►"/>
                      </a:pPr>
                      <a:endParaRPr lang="en-US" sz="1600" b="0" i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028714465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J TECHNICAL ASSISTANCE </a:t>
                      </a:r>
                      <a:br>
                        <a:rPr lang="en-US" sz="1600" b="0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PPORT 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REDIT FLEXIBILITY TO </a:t>
                      </a:r>
                      <a:b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PPORT BUSINESSES</a:t>
                      </a:r>
                      <a:endParaRPr lang="en-US" sz="1600" b="0" i="0" dirty="0">
                        <a:solidFill>
                          <a:srgbClr val="05597B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Clr>
                          <a:schemeClr val="accent2"/>
                        </a:buClr>
                        <a:buFont typeface=".Lucida Grande UI Regular"/>
                        <a:buChar char="►"/>
                      </a:pPr>
                      <a:endParaRPr lang="en-US" sz="1600" b="0" i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54107374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REDIT FLEXIBILITY TO </a:t>
                      </a:r>
                      <a:b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PPORT BUSINESSES</a:t>
                      </a:r>
                      <a:endParaRPr lang="en-US" sz="1600" b="0" i="0" dirty="0">
                        <a:solidFill>
                          <a:srgbClr val="05597B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Clr>
                          <a:schemeClr val="accent2"/>
                        </a:buClr>
                        <a:buFont typeface=".Lucida Grande UI Regular"/>
                        <a:buChar char="►"/>
                      </a:pPr>
                      <a:endParaRPr lang="en-US" sz="1600" b="0" i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Clr>
                          <a:schemeClr val="accent2"/>
                        </a:buClr>
                        <a:buFont typeface=".Lucida Grande UI Regular"/>
                        <a:buChar char="►"/>
                      </a:pPr>
                      <a:endParaRPr lang="en-US" sz="1600" b="0" i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994273939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CB50EB5C-F1FA-6946-B496-47E604FD14FE}"/>
              </a:ext>
            </a:extLst>
          </p:cNvPr>
          <p:cNvSpPr/>
          <p:nvPr/>
        </p:nvSpPr>
        <p:spPr>
          <a:xfrm>
            <a:off x="-14215" y="5907328"/>
            <a:ext cx="11963328" cy="814147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1B714C05-A1D4-3547-955F-6AA070D77B23}"/>
              </a:ext>
            </a:extLst>
          </p:cNvPr>
          <p:cNvSpPr txBox="1"/>
          <p:nvPr/>
        </p:nvSpPr>
        <p:spPr>
          <a:xfrm>
            <a:off x="439161" y="6006624"/>
            <a:ext cx="687174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isit </a:t>
            </a:r>
            <a:r>
              <a:rPr lang="en-US" sz="18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cv.business.nj.gov</a:t>
            </a:r>
            <a:r>
              <a:rPr lang="en-US" sz="18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o see what support programs are available to help stabilize your operations and get back on a pathway to growth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EAB14A13-D20F-ED4E-AD2F-61DEC16723AA}"/>
              </a:ext>
            </a:extLst>
          </p:cNvPr>
          <p:cNvSpPr/>
          <p:nvPr/>
        </p:nvSpPr>
        <p:spPr>
          <a:xfrm>
            <a:off x="7843828" y="6172389"/>
            <a:ext cx="235192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Segoe Pro" panose="020B0502040504020203" pitchFamily="34" charset="0"/>
                <a:cs typeface="Calibri Light" panose="020F0302020204030204" pitchFamily="34" charset="0"/>
              </a:rPr>
              <a:t> 1-800-JERSEY7</a:t>
            </a:r>
            <a:endParaRPr lang="en-US" sz="2400" b="1" dirty="0">
              <a:solidFill>
                <a:schemeClr val="bg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0BC01923-E84E-5E40-8839-09F042A67DD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846" y="5974132"/>
            <a:ext cx="1221221" cy="814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8580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5F30E8C7-1F11-E84F-992E-79AFD468AF2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4126" y="3989439"/>
            <a:ext cx="2743200" cy="1827884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06F4DDDD-86BC-CE45-8552-41A6548F825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9500" y="3988829"/>
            <a:ext cx="2743200" cy="1949837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002FD8AC-B778-E04E-92E7-FC6E3C831E7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439" y="4001797"/>
            <a:ext cx="2743200" cy="1855694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ADEB0516-475F-1943-A1E1-15931CED056B}"/>
              </a:ext>
            </a:extLst>
          </p:cNvPr>
          <p:cNvSpPr/>
          <p:nvPr/>
        </p:nvSpPr>
        <p:spPr>
          <a:xfrm>
            <a:off x="-12525" y="5817323"/>
            <a:ext cx="11968084" cy="616159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D8A2E082-CE38-554C-9493-DAA4F40A843D}"/>
              </a:ext>
            </a:extLst>
          </p:cNvPr>
          <p:cNvSpPr/>
          <p:nvPr/>
        </p:nvSpPr>
        <p:spPr>
          <a:xfrm>
            <a:off x="3248196" y="1004291"/>
            <a:ext cx="253935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MERGENCY ASSISTANCE ELIGIBILITY WIZARD          		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0AB17E05-87E3-B847-BADD-735874BEDB29}"/>
              </a:ext>
            </a:extLst>
          </p:cNvPr>
          <p:cNvSpPr/>
          <p:nvPr/>
        </p:nvSpPr>
        <p:spPr>
          <a:xfrm>
            <a:off x="3248196" y="2526588"/>
            <a:ext cx="253935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e what support programs are available to you to help stabilize your operations and get back on a pathway to growth.</a:t>
            </a: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Graphic 5" descr="Bullseye">
            <a:extLst>
              <a:ext uri="{FF2B5EF4-FFF2-40B4-BE49-F238E27FC236}">
                <a16:creationId xmlns:a16="http://schemas.microsoft.com/office/drawing/2014/main" xmlns="" id="{35130C64-A891-2B45-846A-8D50EA38C5B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30144" y="106597"/>
            <a:ext cx="774338" cy="77433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0B55453C-D742-ED47-88CA-35FBA468F6C9}"/>
              </a:ext>
            </a:extLst>
          </p:cNvPr>
          <p:cNvSpPr/>
          <p:nvPr/>
        </p:nvSpPr>
        <p:spPr>
          <a:xfrm>
            <a:off x="3469257" y="5927610"/>
            <a:ext cx="21930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u="sng" dirty="0">
                <a:solidFill>
                  <a:schemeClr val="bg1"/>
                </a:solidFill>
                <a:latin typeface="Calibri" panose="020F050202020403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CV.BUSINESS.NJ.GOV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26A036CD-7CED-3244-9896-C6FF025B6787}"/>
              </a:ext>
            </a:extLst>
          </p:cNvPr>
          <p:cNvSpPr/>
          <p:nvPr/>
        </p:nvSpPr>
        <p:spPr>
          <a:xfrm>
            <a:off x="487279" y="5927610"/>
            <a:ext cx="21930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u="sng" dirty="0">
                <a:solidFill>
                  <a:schemeClr val="bg1"/>
                </a:solidFill>
                <a:latin typeface="Calibri" panose="020F050202020403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CV.BUSINESS.NJ.GOV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6EE872BE-3C0A-804D-AB38-75A824740D84}"/>
              </a:ext>
            </a:extLst>
          </p:cNvPr>
          <p:cNvSpPr/>
          <p:nvPr/>
        </p:nvSpPr>
        <p:spPr>
          <a:xfrm>
            <a:off x="9416410" y="5927610"/>
            <a:ext cx="23423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800" b="1" u="sng" dirty="0">
                <a:solidFill>
                  <a:schemeClr val="bg1"/>
                </a:solidFill>
                <a:latin typeface="Calibri" panose="020F050202020403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JOBS.COVID19.NJ.GOV</a:t>
            </a:r>
            <a:endParaRPr lang="en-US" sz="18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E23029D3-2EF0-BF4F-9A9D-C35663965FED}"/>
              </a:ext>
            </a:extLst>
          </p:cNvPr>
          <p:cNvSpPr/>
          <p:nvPr/>
        </p:nvSpPr>
        <p:spPr>
          <a:xfrm>
            <a:off x="9223383" y="1004291"/>
            <a:ext cx="231851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JERSEY COVID-19</a:t>
            </a:r>
          </a:p>
          <a:p>
            <a:r>
              <a:rPr lang="en-US" sz="2400" b="1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OBS AND HIRING PORTAL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3480C891-118D-7644-A4C3-E7B0F6804FC6}"/>
              </a:ext>
            </a:extLst>
          </p:cNvPr>
          <p:cNvSpPr/>
          <p:nvPr/>
        </p:nvSpPr>
        <p:spPr>
          <a:xfrm>
            <a:off x="9223382" y="2568357"/>
            <a:ext cx="255027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sinesses across New Jersey need thousands of workers for immediate hire. Learn more about who is hiring in your community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xmlns="" id="{94DE516D-647D-204A-A1E9-D833872427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3609" y="204427"/>
            <a:ext cx="10704807" cy="553998"/>
          </a:xfrm>
        </p:spPr>
        <p:txBody>
          <a:bodyPr/>
          <a:lstStyle/>
          <a:p>
            <a:r>
              <a:rPr lang="en-US" sz="3600" dirty="0">
                <a:solidFill>
                  <a:schemeClr val="accent2"/>
                </a:solidFill>
              </a:rPr>
              <a:t>Additional Resources 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xmlns="" id="{F1F34821-2B77-D141-B200-CC8B83B1186C}"/>
              </a:ext>
            </a:extLst>
          </p:cNvPr>
          <p:cNvCxnSpPr>
            <a:cxnSpLocks/>
          </p:cNvCxnSpPr>
          <p:nvPr/>
        </p:nvCxnSpPr>
        <p:spPr>
          <a:xfrm>
            <a:off x="3342450" y="2531869"/>
            <a:ext cx="2169002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16F00C61-2D37-2143-93A4-C8AC1B923851}"/>
              </a:ext>
            </a:extLst>
          </p:cNvPr>
          <p:cNvSpPr/>
          <p:nvPr/>
        </p:nvSpPr>
        <p:spPr>
          <a:xfrm>
            <a:off x="316856" y="2922459"/>
            <a:ext cx="229001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arch for information on COVID-19 and its impact on businesses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E9604073-C9BA-C24D-8CBF-673237E6BD46}"/>
              </a:ext>
            </a:extLst>
          </p:cNvPr>
          <p:cNvSpPr/>
          <p:nvPr/>
        </p:nvSpPr>
        <p:spPr>
          <a:xfrm>
            <a:off x="316856" y="1004291"/>
            <a:ext cx="2318514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JERSEY COVID-19 BUSINESS INFORMATION HUB</a:t>
            </a:r>
            <a:endParaRPr 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xmlns="" id="{02ECC4B8-7439-0444-B167-F2BF386C7DF3}"/>
              </a:ext>
            </a:extLst>
          </p:cNvPr>
          <p:cNvCxnSpPr>
            <a:cxnSpLocks/>
          </p:cNvCxnSpPr>
          <p:nvPr/>
        </p:nvCxnSpPr>
        <p:spPr>
          <a:xfrm>
            <a:off x="395209" y="2911308"/>
            <a:ext cx="2211659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xmlns="" id="{622AED41-5F2B-FB49-AA30-E5451772DE07}"/>
              </a:ext>
            </a:extLst>
          </p:cNvPr>
          <p:cNvCxnSpPr>
            <a:cxnSpLocks/>
          </p:cNvCxnSpPr>
          <p:nvPr/>
        </p:nvCxnSpPr>
        <p:spPr>
          <a:xfrm>
            <a:off x="9306097" y="2556921"/>
            <a:ext cx="2235800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A5531DAA-1A46-4B79-8441-04E5D4BAA60C}"/>
              </a:ext>
            </a:extLst>
          </p:cNvPr>
          <p:cNvSpPr/>
          <p:nvPr/>
        </p:nvSpPr>
        <p:spPr>
          <a:xfrm>
            <a:off x="6640107" y="5927610"/>
            <a:ext cx="21930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u="sng" dirty="0">
                <a:solidFill>
                  <a:schemeClr val="bg1"/>
                </a:solidFill>
                <a:latin typeface="Calibri" panose="020F050202020403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CV.BUSINESS.NJ.GOV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B68A584E-9871-448E-B060-9F3454065A68}"/>
              </a:ext>
            </a:extLst>
          </p:cNvPr>
          <p:cNvSpPr/>
          <p:nvPr/>
        </p:nvSpPr>
        <p:spPr>
          <a:xfrm>
            <a:off x="6369476" y="2237965"/>
            <a:ext cx="229001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t an early estimate of your potential grant award size based on information you submitted on your Q4 2019 NJ WR-30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A972FE1C-7801-4334-81EC-D098C1552644}"/>
              </a:ext>
            </a:extLst>
          </p:cNvPr>
          <p:cNvSpPr/>
          <p:nvPr/>
        </p:nvSpPr>
        <p:spPr>
          <a:xfrm>
            <a:off x="6369476" y="1004291"/>
            <a:ext cx="231851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ANT AWARD SIZE ESTIMATE CALCULATOR</a:t>
            </a:r>
            <a:endParaRPr 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xmlns="" id="{F2CEFFC2-BEFE-4BDC-9DC1-CC645964F164}"/>
              </a:ext>
            </a:extLst>
          </p:cNvPr>
          <p:cNvCxnSpPr>
            <a:cxnSpLocks/>
          </p:cNvCxnSpPr>
          <p:nvPr/>
        </p:nvCxnSpPr>
        <p:spPr>
          <a:xfrm>
            <a:off x="6447829" y="2226814"/>
            <a:ext cx="2032292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916B3958-3483-46E0-8829-38526AC040F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11813" y="3928070"/>
            <a:ext cx="2743200" cy="1890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8681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E66DB9E-D9A3-7542-A00C-41B73DCBFB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052" y="267749"/>
            <a:ext cx="11491891" cy="553998"/>
          </a:xfrm>
        </p:spPr>
        <p:txBody>
          <a:bodyPr/>
          <a:lstStyle/>
          <a:p>
            <a:r>
              <a:rPr lang="en-US" sz="3600" dirty="0">
                <a:solidFill>
                  <a:srgbClr val="83BD40"/>
                </a:solidFill>
                <a:latin typeface="Segoe Pro" panose="020B0502040504020203" pitchFamily="34" charset="0"/>
              </a:rPr>
              <a:t>COVID-19 </a:t>
            </a:r>
            <a:r>
              <a:rPr lang="en-US" sz="3600" dirty="0">
                <a:solidFill>
                  <a:srgbClr val="05597B"/>
                </a:solidFill>
                <a:latin typeface="Segoe Pro" panose="020B0502040504020203" pitchFamily="34" charset="0"/>
              </a:rPr>
              <a:t>Economic Relief Package</a:t>
            </a:r>
            <a:endParaRPr lang="en-US" sz="3600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xmlns="" id="{F7DBBBC9-87C3-EF49-A075-DE6002CB1B21}"/>
              </a:ext>
            </a:extLst>
          </p:cNvPr>
          <p:cNvGrpSpPr/>
          <p:nvPr/>
        </p:nvGrpSpPr>
        <p:grpSpPr>
          <a:xfrm>
            <a:off x="327052" y="996450"/>
            <a:ext cx="10871272" cy="936949"/>
            <a:chOff x="104032" y="1219474"/>
            <a:chExt cx="10871272" cy="936949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xmlns="" id="{CA41D29F-E244-C54F-BF2E-8FFC6BBB9D1D}"/>
                </a:ext>
              </a:extLst>
            </p:cNvPr>
            <p:cNvSpPr/>
            <p:nvPr/>
          </p:nvSpPr>
          <p:spPr>
            <a:xfrm>
              <a:off x="891246" y="1497170"/>
              <a:ext cx="1008405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000" b="1" dirty="0">
                  <a:solidFill>
                    <a:srgbClr val="05597B"/>
                  </a:solidFill>
                  <a:latin typeface="Segoe Pro" panose="020B0502040504020203" pitchFamily="34" charset="0"/>
                </a:rPr>
                <a:t>SMALL BUSINESS EMERGENCY ASSISTANCE GRANT PROGRAM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xmlns="" id="{AA788023-2603-2F43-A05D-042FC1B36E0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032" y="1219474"/>
              <a:ext cx="936949" cy="936949"/>
            </a:xfrm>
            <a:prstGeom prst="rect">
              <a:avLst/>
            </a:prstGeom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xmlns="" id="{DA37598E-F45C-6D43-A10F-40BCC8545297}"/>
              </a:ext>
            </a:extLst>
          </p:cNvPr>
          <p:cNvGrpSpPr/>
          <p:nvPr/>
        </p:nvGrpSpPr>
        <p:grpSpPr>
          <a:xfrm>
            <a:off x="369640" y="1971290"/>
            <a:ext cx="11361438" cy="851772"/>
            <a:chOff x="146620" y="2316664"/>
            <a:chExt cx="11361438" cy="851772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xmlns="" id="{BD13BC47-D316-AE40-8FE2-0030987B842B}"/>
                </a:ext>
              </a:extLst>
            </p:cNvPr>
            <p:cNvSpPr/>
            <p:nvPr/>
          </p:nvSpPr>
          <p:spPr>
            <a:xfrm>
              <a:off x="891245" y="2540457"/>
              <a:ext cx="1061681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000" b="1" dirty="0">
                  <a:solidFill>
                    <a:srgbClr val="05597B"/>
                  </a:solidFill>
                  <a:latin typeface="Segoe Pro" panose="020B0502040504020203" pitchFamily="34" charset="0"/>
                </a:rPr>
                <a:t>SMALL BUSINESS EMERGENCY ASSISTANCE LOAN PROGRAM</a:t>
              </a: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xmlns="" id="{A44FE80A-B268-154E-9919-BA050503660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6620" y="2316664"/>
              <a:ext cx="851772" cy="851772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xmlns="" id="{12A25268-E641-6F47-874E-29D46C8BA308}"/>
              </a:ext>
            </a:extLst>
          </p:cNvPr>
          <p:cNvGrpSpPr/>
          <p:nvPr/>
        </p:nvGrpSpPr>
        <p:grpSpPr>
          <a:xfrm>
            <a:off x="408357" y="5731602"/>
            <a:ext cx="11322721" cy="774338"/>
            <a:chOff x="185337" y="5653545"/>
            <a:chExt cx="11322721" cy="774338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xmlns="" id="{7FBDF9A0-F3E6-BC40-B3F6-B5072C06FBBC}"/>
                </a:ext>
              </a:extLst>
            </p:cNvPr>
            <p:cNvSpPr/>
            <p:nvPr/>
          </p:nvSpPr>
          <p:spPr>
            <a:xfrm>
              <a:off x="891245" y="5849274"/>
              <a:ext cx="1061681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000" b="1" dirty="0">
                  <a:solidFill>
                    <a:srgbClr val="05597B"/>
                  </a:solidFill>
                  <a:latin typeface="Segoe Pro" panose="020B0502040504020203" pitchFamily="34" charset="0"/>
                </a:rPr>
                <a:t>CREDIT FLEXIBILITY TO SUPPORT BUSINESSES</a:t>
              </a: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xmlns="" id="{15821497-D51A-0B46-9F9D-C7A846859E9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5337" y="5653545"/>
              <a:ext cx="774338" cy="774338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xmlns="" id="{17BC6C6A-C5D0-F64F-A8D4-FCB6B987EDA4}"/>
              </a:ext>
            </a:extLst>
          </p:cNvPr>
          <p:cNvGrpSpPr/>
          <p:nvPr/>
        </p:nvGrpSpPr>
        <p:grpSpPr>
          <a:xfrm>
            <a:off x="280204" y="4863784"/>
            <a:ext cx="7871337" cy="1030644"/>
            <a:chOff x="57184" y="4852379"/>
            <a:chExt cx="7871337" cy="1030644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xmlns="" id="{0A28158D-F994-2644-A785-16A1181C0F16}"/>
                </a:ext>
              </a:extLst>
            </p:cNvPr>
            <p:cNvSpPr/>
            <p:nvPr/>
          </p:nvSpPr>
          <p:spPr>
            <a:xfrm>
              <a:off x="891245" y="5131189"/>
              <a:ext cx="703727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000" b="1" dirty="0">
                  <a:solidFill>
                    <a:srgbClr val="05597B"/>
                  </a:solidFill>
                  <a:latin typeface="Segoe Pro" panose="020B0502040504020203" pitchFamily="34" charset="0"/>
                </a:rPr>
                <a:t>NJ TECHNICAL ASSISTANCE SUPPORT </a:t>
              </a: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xmlns="" id="{58506A97-1AF1-B54B-AEC8-0D776659318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184" y="4852379"/>
              <a:ext cx="1030644" cy="1030644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xmlns="" id="{6EC299DB-21AA-9C45-A20A-902E9E6F24E8}"/>
              </a:ext>
            </a:extLst>
          </p:cNvPr>
          <p:cNvGrpSpPr/>
          <p:nvPr/>
        </p:nvGrpSpPr>
        <p:grpSpPr>
          <a:xfrm>
            <a:off x="408357" y="2894412"/>
            <a:ext cx="11465313" cy="774338"/>
            <a:chOff x="185337" y="3273193"/>
            <a:chExt cx="11465313" cy="774338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535C4D40-CBE4-8C49-9B8C-361CA27CED0D}"/>
                </a:ext>
              </a:extLst>
            </p:cNvPr>
            <p:cNvSpPr/>
            <p:nvPr/>
          </p:nvSpPr>
          <p:spPr>
            <a:xfrm>
              <a:off x="891245" y="3424528"/>
              <a:ext cx="10759405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000" b="1" dirty="0">
                  <a:solidFill>
                    <a:srgbClr val="05597B"/>
                  </a:solidFill>
                  <a:latin typeface="Segoe Pro" panose="020B0502040504020203" pitchFamily="34" charset="0"/>
                </a:rPr>
                <a:t>PROGRAMS TO MOBILIZE CAPITAL TO MICRO-, SMALL, &amp; MEDIUM-SIZED BUSINESSES</a:t>
              </a: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xmlns="" id="{22759031-3A29-9E40-A7CB-DC837CD9F7C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5337" y="3273193"/>
              <a:ext cx="774338" cy="774338"/>
            </a:xfrm>
            <a:prstGeom prst="rect">
              <a:avLst/>
            </a:prstGeom>
          </p:spPr>
        </p:pic>
      </p:grp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xmlns="" id="{6E5D3AFB-CE9E-094A-8DCF-492BD1B6BD1D}"/>
              </a:ext>
            </a:extLst>
          </p:cNvPr>
          <p:cNvCxnSpPr/>
          <p:nvPr/>
        </p:nvCxnSpPr>
        <p:spPr>
          <a:xfrm>
            <a:off x="408357" y="1913877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xmlns="" id="{E006DA79-F1BF-8B4F-AB1E-D6904C055A8F}"/>
              </a:ext>
            </a:extLst>
          </p:cNvPr>
          <p:cNvCxnSpPr/>
          <p:nvPr/>
        </p:nvCxnSpPr>
        <p:spPr>
          <a:xfrm>
            <a:off x="408357" y="2880312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xmlns="" id="{AC177A73-4E28-1E48-881B-0870697355F2}"/>
              </a:ext>
            </a:extLst>
          </p:cNvPr>
          <p:cNvCxnSpPr/>
          <p:nvPr/>
        </p:nvCxnSpPr>
        <p:spPr>
          <a:xfrm>
            <a:off x="408357" y="4887530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xmlns="" id="{5ED45CD1-46A5-EA47-A4E0-6683300C0279}"/>
              </a:ext>
            </a:extLst>
          </p:cNvPr>
          <p:cNvCxnSpPr/>
          <p:nvPr/>
        </p:nvCxnSpPr>
        <p:spPr>
          <a:xfrm>
            <a:off x="408357" y="5757319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xmlns="" id="{36DB6406-57C9-E040-A58F-7F87BFD3F580}"/>
              </a:ext>
            </a:extLst>
          </p:cNvPr>
          <p:cNvCxnSpPr/>
          <p:nvPr/>
        </p:nvCxnSpPr>
        <p:spPr>
          <a:xfrm>
            <a:off x="408357" y="1040364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xmlns="" id="{BC59BCDD-72C2-084F-A2A3-8DBA97C06E3B}"/>
              </a:ext>
            </a:extLst>
          </p:cNvPr>
          <p:cNvCxnSpPr/>
          <p:nvPr/>
        </p:nvCxnSpPr>
        <p:spPr>
          <a:xfrm>
            <a:off x="408357" y="6549052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D364FA08-14EF-2649-ACEC-66F8F894EDCA}"/>
              </a:ext>
            </a:extLst>
          </p:cNvPr>
          <p:cNvSpPr/>
          <p:nvPr/>
        </p:nvSpPr>
        <p:spPr>
          <a:xfrm>
            <a:off x="1182695" y="3487839"/>
            <a:ext cx="9803801" cy="32046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1" dirty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DFI First Loss Reserve Fund</a:t>
            </a:r>
            <a:endParaRPr lang="en-US" sz="1800" b="1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633EEC12-285B-CC44-95D1-9383C5DE0F1F}"/>
              </a:ext>
            </a:extLst>
          </p:cNvPr>
          <p:cNvSpPr/>
          <p:nvPr/>
        </p:nvSpPr>
        <p:spPr>
          <a:xfrm>
            <a:off x="1182695" y="3918959"/>
            <a:ext cx="8932129" cy="34149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1" dirty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mergency Assistance Guarantee </a:t>
            </a:r>
            <a:endParaRPr lang="en-US" sz="1400" b="1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800" b="1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03972A14-6F84-0546-A91C-984A65F998F6}"/>
              </a:ext>
            </a:extLst>
          </p:cNvPr>
          <p:cNvSpPr/>
          <p:nvPr/>
        </p:nvSpPr>
        <p:spPr>
          <a:xfrm>
            <a:off x="1182695" y="4359954"/>
            <a:ext cx="10197971" cy="43062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1" dirty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ntrepreneur Support Program</a:t>
            </a:r>
            <a:endParaRPr lang="en-US" sz="1400" b="1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400" b="1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800" b="1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84545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xmlns="" id="{D32C1720-01FD-864F-989D-01CBE530A964}"/>
              </a:ext>
            </a:extLst>
          </p:cNvPr>
          <p:cNvSpPr/>
          <p:nvPr/>
        </p:nvSpPr>
        <p:spPr>
          <a:xfrm>
            <a:off x="1058694" y="1588114"/>
            <a:ext cx="6770922" cy="1344658"/>
          </a:xfrm>
          <a:custGeom>
            <a:avLst/>
            <a:gdLst>
              <a:gd name="connsiteX0" fmla="*/ 0 w 6770922"/>
              <a:gd name="connsiteY0" fmla="*/ 0 h 1344658"/>
              <a:gd name="connsiteX1" fmla="*/ 6098593 w 6770922"/>
              <a:gd name="connsiteY1" fmla="*/ 0 h 1344658"/>
              <a:gd name="connsiteX2" fmla="*/ 6770922 w 6770922"/>
              <a:gd name="connsiteY2" fmla="*/ 672329 h 1344658"/>
              <a:gd name="connsiteX3" fmla="*/ 6098593 w 6770922"/>
              <a:gd name="connsiteY3" fmla="*/ 1344658 h 1344658"/>
              <a:gd name="connsiteX4" fmla="*/ 0 w 6770922"/>
              <a:gd name="connsiteY4" fmla="*/ 1344658 h 1344658"/>
              <a:gd name="connsiteX5" fmla="*/ 0 w 6770922"/>
              <a:gd name="connsiteY5" fmla="*/ 0 h 1344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70922" h="1344658">
                <a:moveTo>
                  <a:pt x="0" y="0"/>
                </a:moveTo>
                <a:lnTo>
                  <a:pt x="6098593" y="0"/>
                </a:lnTo>
                <a:lnTo>
                  <a:pt x="6770922" y="672329"/>
                </a:lnTo>
                <a:lnTo>
                  <a:pt x="6098593" y="1344658"/>
                </a:lnTo>
                <a:lnTo>
                  <a:pt x="0" y="134465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352" tIns="74676" rIns="373502" bIns="74676" numCol="1" spcCol="1270" anchor="ctr" anchorCtr="0">
            <a:noAutofit/>
          </a:bodyPr>
          <a:lstStyle/>
          <a:p>
            <a:pPr marL="0" lvl="0" indent="0" algn="l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800" b="1" i="0" kern="1200" dirty="0">
                <a:latin typeface="Calibri" panose="020F0502020204030204" pitchFamily="34" charset="0"/>
                <a:cs typeface="Calibri" panose="020F0502020204030204" pitchFamily="34" charset="0"/>
              </a:rPr>
              <a:t>Operating expense grants of up to $5K </a:t>
            </a:r>
            <a:br>
              <a:rPr lang="en-US" sz="2800" b="1" i="0" kern="12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800" b="0" i="0" kern="1200" dirty="0">
                <a:latin typeface="Calibri" panose="020F0502020204030204" pitchFamily="34" charset="0"/>
                <a:cs typeface="Calibri" panose="020F0502020204030204" pitchFamily="34" charset="0"/>
              </a:rPr>
              <a:t>to small businesses with 1-10 FTE </a:t>
            </a:r>
            <a:br>
              <a:rPr lang="en-US" sz="2800" b="0" i="0" kern="12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800" b="0" i="0" kern="1200" dirty="0">
                <a:latin typeface="Calibri" panose="020F0502020204030204" pitchFamily="34" charset="0"/>
                <a:cs typeface="Calibri" panose="020F0502020204030204" pitchFamily="34" charset="0"/>
              </a:rPr>
              <a:t>in highly impacted industrie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xmlns="" id="{45DE14BE-9FEA-6347-9B21-4441E88DDEFC}"/>
              </a:ext>
            </a:extLst>
          </p:cNvPr>
          <p:cNvGrpSpPr/>
          <p:nvPr/>
        </p:nvGrpSpPr>
        <p:grpSpPr>
          <a:xfrm>
            <a:off x="118436" y="165069"/>
            <a:ext cx="9119754" cy="954107"/>
            <a:chOff x="48277" y="1214983"/>
            <a:chExt cx="9119754" cy="954107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C49837A8-498C-F443-9549-A1604418FE03}"/>
                </a:ext>
              </a:extLst>
            </p:cNvPr>
            <p:cNvSpPr/>
            <p:nvPr/>
          </p:nvSpPr>
          <p:spPr>
            <a:xfrm>
              <a:off x="881093" y="1214983"/>
              <a:ext cx="8286938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srgbClr val="05597B"/>
                  </a:solidFill>
                  <a:latin typeface="Segoe Pro" panose="020B0502040504020203" pitchFamily="34" charset="0"/>
                </a:rPr>
                <a:t>SMALL BUSINESS EMERGENCY ASSISTANCE GRANT PROGRAM</a:t>
              </a: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xmlns="" id="{42D05CFC-3D16-1E49-9E44-8E757156A43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277" y="1219474"/>
              <a:ext cx="936949" cy="936949"/>
            </a:xfrm>
            <a:prstGeom prst="rect">
              <a:avLst/>
            </a:prstGeom>
          </p:spPr>
        </p:pic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DC7E42C0-8645-D347-9D5F-CD62BA95D70C}"/>
              </a:ext>
            </a:extLst>
          </p:cNvPr>
          <p:cNvSpPr/>
          <p:nvPr/>
        </p:nvSpPr>
        <p:spPr>
          <a:xfrm>
            <a:off x="875570" y="3441831"/>
            <a:ext cx="10873844" cy="31851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t"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dustries, as determined by NAICS code: </a:t>
            </a:r>
          </a:p>
          <a:p>
            <a:pPr marL="800100" lvl="1" indent="-342900">
              <a:spcBef>
                <a:spcPts val="0"/>
              </a:spcBef>
              <a:spcAft>
                <a:spcPts val="0"/>
              </a:spcAft>
              <a:buSzPct val="50000"/>
              <a:buFont typeface="Courier New" panose="02070309020205020404" pitchFamily="49" charset="0"/>
              <a:buChar char="o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tail</a:t>
            </a:r>
          </a:p>
          <a:p>
            <a:pPr marL="800100" lvl="1" indent="-342900">
              <a:spcBef>
                <a:spcPts val="0"/>
              </a:spcBef>
              <a:spcAft>
                <a:spcPts val="0"/>
              </a:spcAft>
              <a:buSzPct val="50000"/>
              <a:buFont typeface="Courier New" panose="02070309020205020404" pitchFamily="49" charset="0"/>
              <a:buChar char="o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commodation &amp; Food Service </a:t>
            </a:r>
          </a:p>
          <a:p>
            <a:pPr marL="800100" lvl="1" indent="-342900">
              <a:spcBef>
                <a:spcPts val="0"/>
              </a:spcBef>
              <a:spcAft>
                <a:spcPts val="0"/>
              </a:spcAft>
              <a:buSzPct val="50000"/>
              <a:buFont typeface="Courier New" panose="02070309020205020404" pitchFamily="49" charset="0"/>
              <a:buChar char="o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ts, Entertainment, &amp; Recreation, Repair &amp; Maintenance; Personal &amp; Laundry Services</a:t>
            </a:r>
          </a:p>
          <a:p>
            <a:pPr marL="800100" lvl="1" indent="-342900">
              <a:spcBef>
                <a:spcPts val="0"/>
              </a:spcBef>
              <a:spcAft>
                <a:spcPts val="0"/>
              </a:spcAft>
              <a:buSzPct val="50000"/>
              <a:buFont typeface="Courier New" panose="02070309020205020404" pitchFamily="49" charset="0"/>
              <a:buChar char="o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Eligible NAICS codes that start with  </a:t>
            </a:r>
            <a:b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4, 45, 71, 72, 811, 812)</a:t>
            </a:r>
          </a:p>
          <a:p>
            <a:pPr lvl="1">
              <a:spcBef>
                <a:spcPts val="0"/>
              </a:spcBef>
              <a:spcAft>
                <a:spcPts val="0"/>
              </a:spcAft>
              <a:buSzPct val="50000"/>
            </a:pPr>
            <a:endParaRPr lang="en-US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-profit entities in the above industries are permitted to receive grant funding if they also have the following designations: 501(c)(3), 501(c)(4), and 501(c)(7)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certify to negative impact of emergency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ysical commercial location in NJ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be registered to do business in New Jersey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partment of Labor good standing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-10 FTE per Company’s 2019 4</a:t>
            </a:r>
            <a:r>
              <a:rPr lang="en-US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Quarter NJ-WR30 filing with the Department of </a:t>
            </a:r>
            <a:r>
              <a:rPr lang="en-US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bor: visit </a:t>
            </a:r>
            <a:r>
              <a:rPr lang="en-US" u="sng">
                <a:hlinkClick r:id="rId3"/>
              </a:rPr>
              <a:t>https</a:t>
            </a:r>
            <a:r>
              <a:rPr lang="en-US" u="sng" dirty="0">
                <a:hlinkClick r:id="rId3"/>
              </a:rPr>
              <a:t>://forms.business.nj.gov/grant-size/</a:t>
            </a:r>
            <a:r>
              <a:rPr lang="en-US" u="sng" dirty="0"/>
              <a:t> </a:t>
            </a: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estimate your FT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fill out and certify simplified debarment legal questionnair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76CBB781-6DB6-0246-917A-069363E71C71}"/>
              </a:ext>
            </a:extLst>
          </p:cNvPr>
          <p:cNvSpPr/>
          <p:nvPr/>
        </p:nvSpPr>
        <p:spPr>
          <a:xfrm>
            <a:off x="380064" y="2955074"/>
            <a:ext cx="2454575" cy="506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0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siness Eligibility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14DC061D-F924-DD47-9809-EABC75D4B03E}"/>
              </a:ext>
            </a:extLst>
          </p:cNvPr>
          <p:cNvCxnSpPr/>
          <p:nvPr/>
        </p:nvCxnSpPr>
        <p:spPr>
          <a:xfrm>
            <a:off x="380066" y="1202740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xmlns="" id="{F70328B6-FABD-4144-92A4-83AC9EA429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2567264"/>
              </p:ext>
            </p:extLst>
          </p:nvPr>
        </p:nvGraphicFramePr>
        <p:xfrm>
          <a:off x="8376826" y="1711801"/>
          <a:ext cx="3117824" cy="118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17824">
                  <a:extLst>
                    <a:ext uri="{9D8B030D-6E8A-4147-A177-3AD203B41FA5}">
                      <a16:colId xmlns:a16="http://schemas.microsoft.com/office/drawing/2014/main" xmlns="" val="22213847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JEDA Program Siz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00830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800" b="1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5M</a:t>
                      </a:r>
                    </a:p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(initial wave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9992162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883954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F6DC5CB-8AB1-4DB9-B1E1-663C7DB88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nt Application Screen Shots: </a:t>
            </a:r>
            <a:r>
              <a:rPr lang="en-US" b="0" dirty="0"/>
              <a:t>Contact information</a:t>
            </a:r>
            <a:r>
              <a:rPr lang="en-US" dirty="0"/>
              <a:t> 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xmlns="" id="{C291B40B-CB78-483A-836A-38948918481D}"/>
              </a:ext>
            </a:extLst>
          </p:cNvPr>
          <p:cNvGrpSpPr/>
          <p:nvPr/>
        </p:nvGrpSpPr>
        <p:grpSpPr>
          <a:xfrm>
            <a:off x="1209631" y="729307"/>
            <a:ext cx="5094626" cy="5846324"/>
            <a:chOff x="3689589" y="739302"/>
            <a:chExt cx="5094626" cy="584632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xmlns="" id="{E37E5BBC-0FA2-461C-83A6-8BC481A83E49}"/>
                </a:ext>
              </a:extLst>
            </p:cNvPr>
            <p:cNvSpPr/>
            <p:nvPr/>
          </p:nvSpPr>
          <p:spPr>
            <a:xfrm>
              <a:off x="3689589" y="739302"/>
              <a:ext cx="5094626" cy="58463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xmlns="" id="{A7ABFDAF-3F3C-49B3-94FC-D3E183D87C31}"/>
                </a:ext>
              </a:extLst>
            </p:cNvPr>
            <p:cNvGrpSpPr/>
            <p:nvPr/>
          </p:nvGrpSpPr>
          <p:grpSpPr>
            <a:xfrm>
              <a:off x="3884439" y="899431"/>
              <a:ext cx="4704927" cy="5541470"/>
              <a:chOff x="3501956" y="266227"/>
              <a:chExt cx="5305045" cy="6248291"/>
            </a:xfrm>
          </p:grpSpPr>
          <p:pic>
            <p:nvPicPr>
              <p:cNvPr id="5" name="Picture 4" descr="A screenshot of a cell phone&#10;&#10;Description generated with high confidence">
                <a:extLst>
                  <a:ext uri="{FF2B5EF4-FFF2-40B4-BE49-F238E27FC236}">
                    <a16:creationId xmlns:a16="http://schemas.microsoft.com/office/drawing/2014/main" xmlns="" id="{DC8D7FD8-3159-4D45-96AE-38DB5B93DB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501956" y="1697372"/>
                <a:ext cx="5305045" cy="4817146"/>
              </a:xfrm>
              <a:prstGeom prst="rect">
                <a:avLst/>
              </a:prstGeom>
            </p:spPr>
          </p:pic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xmlns="" id="{E74F9AAD-CF76-488A-9380-CE23F53E399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501956" y="266227"/>
                <a:ext cx="5305045" cy="1460893"/>
              </a:xfrm>
              <a:prstGeom prst="rect">
                <a:avLst/>
              </a:prstGeom>
            </p:spPr>
          </p:pic>
        </p:grpSp>
      </p:grp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xmlns="" id="{31762575-ED2F-446C-A3F0-FD098BAE54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5231112"/>
              </p:ext>
            </p:extLst>
          </p:nvPr>
        </p:nvGraphicFramePr>
        <p:xfrm>
          <a:off x="6955589" y="1313457"/>
          <a:ext cx="4123791" cy="1402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23791">
                  <a:extLst>
                    <a:ext uri="{9D8B030D-6E8A-4147-A177-3AD203B41FA5}">
                      <a16:colId xmlns:a16="http://schemas.microsoft.com/office/drawing/2014/main" xmlns="" val="22213847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plication window opens on: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00830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800" b="1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iday, April 3</a:t>
                      </a:r>
                      <a:r>
                        <a:rPr lang="en-US" sz="2800" b="1" i="0" baseline="30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d</a:t>
                      </a:r>
                      <a:endParaRPr lang="en-US" sz="2800" b="1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/>
                      <a:r>
                        <a:rPr lang="en-US" sz="2800" b="1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:00am ET</a:t>
                      </a:r>
                      <a:endParaRPr lang="en-US" sz="14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999216259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xmlns="" id="{6F733644-1C60-4779-80CE-60973F95AB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9301588"/>
              </p:ext>
            </p:extLst>
          </p:nvPr>
        </p:nvGraphicFramePr>
        <p:xfrm>
          <a:off x="6741579" y="5008723"/>
          <a:ext cx="4551812" cy="118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51812">
                  <a:extLst>
                    <a:ext uri="{9D8B030D-6E8A-4147-A177-3AD203B41FA5}">
                      <a16:colId xmlns:a16="http://schemas.microsoft.com/office/drawing/2014/main" xmlns="" val="22213847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plication will be available at: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00830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800" b="1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  <a:hlinkClick r:id="rId4"/>
                        </a:rPr>
                        <a:t>https://cv.business.nj.gov</a:t>
                      </a:r>
                      <a:r>
                        <a:rPr lang="en-US" sz="2800" b="1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algn="ctr"/>
                      <a:endParaRPr lang="en-US" sz="14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999216259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xmlns="" id="{8C5062E2-7D6D-49B0-9BF0-5371C7FF39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2724922"/>
              </p:ext>
            </p:extLst>
          </p:nvPr>
        </p:nvGraphicFramePr>
        <p:xfrm>
          <a:off x="6955589" y="3161090"/>
          <a:ext cx="4123791" cy="1402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23791">
                  <a:extLst>
                    <a:ext uri="{9D8B030D-6E8A-4147-A177-3AD203B41FA5}">
                      <a16:colId xmlns:a16="http://schemas.microsoft.com/office/drawing/2014/main" xmlns="" val="22213847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plication window closes on: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00830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800" b="1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iday, April 10</a:t>
                      </a:r>
                      <a:r>
                        <a:rPr lang="en-US" sz="2800" b="1" i="0" baseline="30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</a:t>
                      </a:r>
                      <a:endParaRPr lang="en-US" sz="2800" b="1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/>
                      <a:r>
                        <a:rPr lang="en-US" sz="2800" b="1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:00am ET</a:t>
                      </a:r>
                      <a:endParaRPr lang="en-US" sz="14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9992162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61381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F6DC5CB-8AB1-4DB9-B1E1-663C7DB88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nt Application Screen Shots: </a:t>
            </a:r>
            <a:r>
              <a:rPr lang="en-US" b="0" dirty="0"/>
              <a:t>Information about your business</a:t>
            </a:r>
            <a:r>
              <a:rPr lang="en-US" dirty="0"/>
              <a:t> </a:t>
            </a:r>
          </a:p>
        </p:txBody>
      </p:sp>
      <p:pic>
        <p:nvPicPr>
          <p:cNvPr id="5" name="Picture 4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xmlns="" id="{40871CAF-D7FD-447E-9601-D5866EB1DF2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984" y="844781"/>
            <a:ext cx="6165442" cy="5591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8766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F6DC5CB-8AB1-4DB9-B1E1-663C7DB88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nt Application Screen Shots:</a:t>
            </a:r>
            <a:r>
              <a:rPr lang="en-US" b="0" dirty="0"/>
              <a:t> Information about your industry (1/2)</a:t>
            </a:r>
            <a:r>
              <a:rPr lang="en-US" dirty="0"/>
              <a:t>  </a:t>
            </a:r>
          </a:p>
        </p:txBody>
      </p:sp>
      <p:pic>
        <p:nvPicPr>
          <p:cNvPr id="4" name="Picture 3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xmlns="" id="{BF103459-DF5A-4EF0-BB13-A81B81E867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796" y="977446"/>
            <a:ext cx="7375520" cy="5459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42653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F6DC5CB-8AB1-4DB9-B1E1-663C7DB88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nt Application Screen Shots:</a:t>
            </a:r>
            <a:r>
              <a:rPr lang="en-US" b="0" dirty="0"/>
              <a:t> Information about your industry (2/2)</a:t>
            </a:r>
            <a:endParaRPr lang="en-US" dirty="0"/>
          </a:p>
        </p:txBody>
      </p:sp>
      <p:pic>
        <p:nvPicPr>
          <p:cNvPr id="6" name="Picture 5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xmlns="" id="{1DE29696-B657-490A-90F9-33BFC783405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1555" y="787940"/>
            <a:ext cx="6106001" cy="5648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667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52A03DC-596C-4305-89B1-E3C508EBAE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nt Application Screen Shots:</a:t>
            </a:r>
            <a:r>
              <a:rPr lang="en-US" b="0" dirty="0"/>
              <a:t> Business Details</a:t>
            </a:r>
            <a:endParaRPr lang="en-US" dirty="0"/>
          </a:p>
        </p:txBody>
      </p:sp>
      <p:pic>
        <p:nvPicPr>
          <p:cNvPr id="6" name="Picture 5" descr="A screenshot of a social media post&#10;&#10;Description generated with very high confidence">
            <a:extLst>
              <a:ext uri="{FF2B5EF4-FFF2-40B4-BE49-F238E27FC236}">
                <a16:creationId xmlns:a16="http://schemas.microsoft.com/office/drawing/2014/main" xmlns="" id="{883F8E1D-CE57-4844-825A-D7A195E9813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8852" y="830904"/>
            <a:ext cx="6051705" cy="5605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5679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ISNEWSLIDENUMBER" val="True"/>
  <p:tag name="NEWNAMES2" val="True"/>
  <p:tag name="PREVIOUSNAME" val="C:\Temp\Development\McK FirmFormat\McKinsey.FirmFormat-insiders\McK FirmFormat Templates\Templates\Firm Format - template - LOP - wide - RL.potx"/>
  <p:tag name="THINKCELLPRESENTATIONDONOTDELETE" val="&lt;?xml version=&quot;1.0&quot; encoding=&quot;UTF-16&quot; standalone=&quot;yes&quot;?&gt;&lt;root reqver=&quot;25060&quot;&gt;&lt;version val=&quot;2806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18&quot;&gt;&lt;elem m_fUsage=&quot;5.64865086638373359307E+00&quot;&gt;&lt;m_msothmcolidx val=&quot;0&quot;/&gt;&lt;m_rgb r=&quot;7F&quot; g=&quot;7F&quot; b=&quot;7F&quot;/&gt;&lt;m_nBrightness endver=&quot;26206&quot; val=&quot;0&quot;/&gt;&lt;/elem&gt;&lt;elem m_fUsage=&quot;1.63237066585659751361E+00&quot;&gt;&lt;m_msothmcolidx val=&quot;0&quot;/&gt;&lt;m_rgb r=&quot;CD&quot; g=&quot;20&quot; b=&quot;2C&quot;/&gt;&lt;m_nBrightness endver=&quot;26206&quot; val=&quot;0&quot;/&gt;&lt;/elem&gt;&lt;elem m_fUsage=&quot;1.29618459900000027041E+00&quot;&gt;&lt;m_msothmcolidx val=&quot;0&quot;/&gt;&lt;m_rgb r=&quot;45&quot; g=&quot;8B&quot; b=&quot;52&quot;/&gt;&lt;m_nBrightness endver=&quot;26206&quot; val=&quot;0&quot;/&gt;&lt;/elem&gt;&lt;elem m_fUsage=&quot;4.03693803961933772584E-01&quot;&gt;&lt;m_msothmcolidx val=&quot;0&quot;/&gt;&lt;m_rgb r=&quot;DB&quot; g=&quot;DB&quot; b=&quot;DB&quot;/&gt;&lt;m_nBrightness endver=&quot;26206&quot; val=&quot;0&quot;/&gt;&lt;/elem&gt;&lt;elem m_fUsage=&quot;2.01343097667441961462E-01&quot;&gt;&lt;m_msothmcolidx val=&quot;0&quot;/&gt;&lt;m_rgb r=&quot;A7&quot; g=&quot;0C&quot; b=&quot;E2&quot;/&gt;&lt;m_nBrightness endver=&quot;26206&quot; val=&quot;0&quot;/&gt;&lt;/elem&gt;&lt;elem m_fUsage=&quot;1.94305367614224511197E-01&quot;&gt;&lt;m_msothmcolidx val=&quot;0&quot;/&gt;&lt;m_rgb r=&quot;F0&quot; g=&quot;CD&quot; b=&quot;62&quot;/&gt;&lt;m_nBrightness endver=&quot;26206&quot; val=&quot;0&quot;/&gt;&lt;/elem&gt;&lt;elem m_fUsage=&quot;1.56626827221401310197E-01&quot;&gt;&lt;m_msothmcolidx val=&quot;0&quot;/&gt;&lt;m_rgb r=&quot;DD&quot; g=&quot;75&quot; b=&quot;82&quot;/&gt;&lt;m_nBrightness endver=&quot;26206&quot; val=&quot;0&quot;/&gt;&lt;/elem&gt;&lt;elem m_fUsage=&quot;1.50094635296999207030E-01&quot;&gt;&lt;m_msothmcolidx val=&quot;0&quot;/&gt;&lt;m_rgb r=&quot;FF&quot; g=&quot;E1&quot; b=&quot;C1&quot;/&gt;&lt;m_nBrightness endver=&quot;26206&quot; val=&quot;0&quot;/&gt;&lt;/elem&gt;&lt;elem m_fUsage=&quot;5.83041964026885586869E-02&quot;&gt;&lt;m_msothmcolidx val=&quot;0&quot;/&gt;&lt;m_rgb r=&quot;13&quot; g=&quot;95&quot; b=&quot;FF&quot;/&gt;&lt;m_nBrightness endver=&quot;26206&quot; val=&quot;0&quot;/&gt;&lt;/elem&gt;&lt;elem m_fUsage=&quot;4.82858399065504290126E-02&quot;&gt;&lt;m_msothmcolidx val=&quot;0&quot;/&gt;&lt;m_rgb r=&quot;00&quot; g=&quot;41&quot; b=&quot;78&quot;/&gt;&lt;m_nBrightness endver=&quot;26206&quot; val=&quot;0&quot;/&gt;&lt;/elem&gt;&lt;elem m_fUsage=&quot;3.43368382029251573151E-02&quot;&gt;&lt;m_msothmcolidx val=&quot;0&quot;/&gt;&lt;m_rgb r=&quot;CE&quot; g=&quot;E3&quot; b=&quot;FF&quot;/&gt;&lt;m_nBrightness endver=&quot;26206&quot; val=&quot;0&quot;/&gt;&lt;/elem&gt;&lt;elem m_fUsage=&quot;3.09031543826326429714E-02&quot;&gt;&lt;m_msothmcolidx val=&quot;0&quot;/&gt;&lt;m_rgb r=&quot;00&quot; g=&quot;6A&quot; b=&quot;C1&quot;/&gt;&lt;m_nBrightness endver=&quot;26206&quot; val=&quot;0&quot;/&gt;&lt;/elem&gt;&lt;elem m_fUsage=&quot;2.50315550499324440681E-02&quot;&gt;&lt;m_msothmcolidx val=&quot;0&quot;/&gt;&lt;m_rgb r=&quot;4F&quot; g=&quot;AB&quot; b=&quot;FF&quot;/&gt;&lt;m_nBrightness endver=&quot;26206&quot; val=&quot;0&quot;/&gt;&lt;/elem&gt;&lt;elem m_fUsage=&quot;2.25283995449391989674E-02&quot;&gt;&lt;m_msothmcolidx val=&quot;0&quot;/&gt;&lt;m_rgb r=&quot;AE&quot; g=&quot;AE&quot; b=&quot;AE&quot;/&gt;&lt;m_nBrightness endver=&quot;26206&quot; val=&quot;0&quot;/&gt;&lt;/elem&gt;&lt;elem m_fUsage=&quot;2.00785929087501265056E-02&quot;&gt;&lt;m_msothmcolidx val=&quot;0&quot;/&gt;&lt;m_rgb r=&quot;66&quot; g=&quot;66&quot; b=&quot;66&quot;/&gt;&lt;m_nBrightness endver=&quot;26206&quot; val=&quot;0&quot;/&gt;&lt;/elem&gt;&lt;elem m_fUsage=&quot;1.64232032682606748919E-02&quot;&gt;&lt;m_msothmcolidx val=&quot;0&quot;/&gt;&lt;m_rgb r=&quot;24&quot; g=&quot;AA&quot; b=&quot;D8&quot;/&gt;&lt;m_nBrightness endver=&quot;26206&quot; val=&quot;0&quot;/&gt;&lt;/elem&gt;&lt;elem m_fUsage=&quot;8.72796356808772273717E-03&quot;&gt;&lt;m_msothmcolidx val=&quot;0&quot;/&gt;&lt;m_rgb r=&quot;F2&quot; g=&quot;7F&quot; b=&quot;00&quot;/&gt;&lt;m_nBrightness endver=&quot;26206&quot; val=&quot;0&quot;/&gt;&lt;/elem&gt;&lt;elem m_fUsage=&quot;5.72641689702235463094E-03&quot;&gt;&lt;m_msothmcolidx val=&quot;0&quot;/&gt;&lt;m_rgb r=&quot;A3&quot; g=&quot;B3&quot; b=&quot;00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BLUEONEFOURTHTITLEFONTCOLORFIXED" val="true"/>
  <p:tag name="MTBTACCENT" val="Text2ColorBoldText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ElEuIEB2QHj3tRlBos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heme/theme1.xml><?xml version="1.0" encoding="utf-8"?>
<a:theme xmlns:a="http://schemas.openxmlformats.org/drawingml/2006/main" name="1_Template_US0168">
  <a:themeElements>
    <a:clrScheme name="Custom 1">
      <a:dk1>
        <a:srgbClr val="000000"/>
      </a:dk1>
      <a:lt1>
        <a:srgbClr val="FFFFFF"/>
      </a:lt1>
      <a:dk2>
        <a:srgbClr val="0078AE"/>
      </a:dk2>
      <a:lt2>
        <a:srgbClr val="00B3E2"/>
      </a:lt2>
      <a:accent1>
        <a:srgbClr val="0078AE"/>
      </a:accent1>
      <a:accent2>
        <a:srgbClr val="84BD00"/>
      </a:accent2>
      <a:accent3>
        <a:srgbClr val="00B3E2"/>
      </a:accent3>
      <a:accent4>
        <a:srgbClr val="005B82"/>
      </a:accent4>
      <a:accent5>
        <a:srgbClr val="BABCBE"/>
      </a:accent5>
      <a:accent6>
        <a:srgbClr val="799B3E"/>
      </a:accent6>
      <a:hlink>
        <a:srgbClr val="0078AE"/>
      </a:hlink>
      <a:folHlink>
        <a:srgbClr val="FFC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94FA3"/>
        </a:dk2>
        <a:lt2>
          <a:srgbClr val="4390BB"/>
        </a:lt2>
        <a:accent1>
          <a:srgbClr val="CFD3D9"/>
        </a:accent1>
        <a:accent2>
          <a:srgbClr val="808080"/>
        </a:accent2>
        <a:accent3>
          <a:srgbClr val="568975"/>
        </a:accent3>
        <a:accent4>
          <a:srgbClr val="0070C0"/>
        </a:accent4>
        <a:accent5>
          <a:srgbClr val="B83536"/>
        </a:accent5>
        <a:accent6>
          <a:srgbClr val="808080"/>
        </a:accent6>
        <a:hlink>
          <a:srgbClr val="568975"/>
        </a:hlink>
        <a:folHlink>
          <a:srgbClr val="007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Workplan_v01.potx" id="{A5A9A795-2CC4-4577-B947-1DFBD041165C}" vid="{20D7C85B-426A-48A4-BC77-47F985C7AFEB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0EA0A7B7C9203478845682FC5ABBB0E" ma:contentTypeVersion="10" ma:contentTypeDescription="Create a new document." ma:contentTypeScope="" ma:versionID="b5704d583dad06f7fab74c30344d00ae">
  <xsd:schema xmlns:xsd="http://www.w3.org/2001/XMLSchema" xmlns:xs="http://www.w3.org/2001/XMLSchema" xmlns:p="http://schemas.microsoft.com/office/2006/metadata/properties" xmlns:ns3="7f702f2a-4823-4282-a502-88841abbd61e" xmlns:ns4="d35c9e64-8622-411e-ab42-87ad06671bb4" targetNamespace="http://schemas.microsoft.com/office/2006/metadata/properties" ma:root="true" ma:fieldsID="c00fd3034627ae8b6bc08950a9d1b795" ns3:_="" ns4:_="">
    <xsd:import namespace="7f702f2a-4823-4282-a502-88841abbd61e"/>
    <xsd:import namespace="d35c9e64-8622-411e-ab42-87ad06671bb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f702f2a-4823-4282-a502-88841abbd61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5c9e64-8622-411e-ab42-87ad06671bb4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7748965-05FB-4D1E-95CC-CCD3DC33BBD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f702f2a-4823-4282-a502-88841abbd61e"/>
    <ds:schemaRef ds:uri="d35c9e64-8622-411e-ab42-87ad06671bb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8BAAB45-A4B3-4029-B95C-D475D2BCE7DB}">
  <ds:schemaRefs>
    <ds:schemaRef ds:uri="http://schemas.microsoft.com/office/2006/documentManagement/types"/>
    <ds:schemaRef ds:uri="http://purl.org/dc/dcmitype/"/>
    <ds:schemaRef ds:uri="http://schemas.microsoft.com/office/2006/metadata/properties"/>
    <ds:schemaRef ds:uri="http://purl.org/dc/elements/1.1/"/>
    <ds:schemaRef ds:uri="d35c9e64-8622-411e-ab42-87ad06671bb4"/>
    <ds:schemaRef ds:uri="7f702f2a-4823-4282-a502-88841abbd61e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9785B999-8973-4786-AFAA-1AEA4629057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93</Words>
  <Application>Microsoft Office PowerPoint</Application>
  <PresentationFormat>Custom</PresentationFormat>
  <Paragraphs>191</Paragraphs>
  <Slides>23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1" baseType="lpstr">
      <vt:lpstr>.Lucida Grande UI Regular</vt:lpstr>
      <vt:lpstr>Arial</vt:lpstr>
      <vt:lpstr>Calibri</vt:lpstr>
      <vt:lpstr>Calibri Light</vt:lpstr>
      <vt:lpstr>Courier New</vt:lpstr>
      <vt:lpstr>Segoe Pro</vt:lpstr>
      <vt:lpstr>Wingdings</vt:lpstr>
      <vt:lpstr>1_Template_US0168</vt:lpstr>
      <vt:lpstr>COVID-19  Economic Relief Package</vt:lpstr>
      <vt:lpstr>We have developed our economic stability approach around three core principles</vt:lpstr>
      <vt:lpstr>COVID-19 Economic Relief Package</vt:lpstr>
      <vt:lpstr>PowerPoint Presentation</vt:lpstr>
      <vt:lpstr>Grant Application Screen Shots: Contact information  </vt:lpstr>
      <vt:lpstr>Grant Application Screen Shots: Information about your business </vt:lpstr>
      <vt:lpstr>Grant Application Screen Shots: Information about your industry (1/2)  </vt:lpstr>
      <vt:lpstr>Grant Application Screen Shots: Information about your industry (2/2)</vt:lpstr>
      <vt:lpstr>Grant Application Screen Shots: Business Details</vt:lpstr>
      <vt:lpstr>Grant Application Screen Shots: Additional Background and Certifications (1/2)</vt:lpstr>
      <vt:lpstr>Grant Application Screen Shots: Additional Background Information</vt:lpstr>
      <vt:lpstr>Grant Application Screen Shots: Certifications (1/2)</vt:lpstr>
      <vt:lpstr>Grant Application Screen Shots: Certifications (2/2)</vt:lpstr>
      <vt:lpstr>Grant Application Screen Shots: Confirmation</vt:lpstr>
      <vt:lpstr>Grant Award Size Estimate Calculator Screen Sho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usinesses Served</vt:lpstr>
      <vt:lpstr>Additional Resources </vt:lpstr>
    </vt:vector>
  </TitlesOfParts>
  <Manager/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9-05-09T02:34:55Z</dcterms:created>
  <dcterms:modified xsi:type="dcterms:W3CDTF">2020-03-31T20:25:31Z</dcterms:modified>
  <cp:category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PT">
    <vt:lpwstr>Hello</vt:lpwstr>
  </property>
  <property fmtid="{D5CDD505-2E9C-101B-9397-08002B2CF9AE}" pid="3" name="ContentTypeId">
    <vt:lpwstr>0x010100A0EA0A7B7C9203478845682FC5ABBB0E</vt:lpwstr>
  </property>
</Properties>
</file>